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3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4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3" r:id="rId2"/>
    <p:sldMasterId id="2147483718" r:id="rId3"/>
    <p:sldMasterId id="2147483752" r:id="rId4"/>
    <p:sldMasterId id="2147483802" r:id="rId5"/>
  </p:sldMasterIdLst>
  <p:notesMasterIdLst>
    <p:notesMasterId r:id="rId40"/>
  </p:notesMasterIdLst>
  <p:sldIdLst>
    <p:sldId id="256" r:id="rId6"/>
    <p:sldId id="257" r:id="rId7"/>
    <p:sldId id="2147472938" r:id="rId8"/>
    <p:sldId id="2147475356" r:id="rId9"/>
    <p:sldId id="259" r:id="rId10"/>
    <p:sldId id="2147472943" r:id="rId11"/>
    <p:sldId id="539" r:id="rId12"/>
    <p:sldId id="867" r:id="rId13"/>
    <p:sldId id="620" r:id="rId14"/>
    <p:sldId id="2147472941" r:id="rId15"/>
    <p:sldId id="619" r:id="rId16"/>
    <p:sldId id="579" r:id="rId17"/>
    <p:sldId id="623" r:id="rId18"/>
    <p:sldId id="618" r:id="rId19"/>
    <p:sldId id="624" r:id="rId20"/>
    <p:sldId id="622" r:id="rId21"/>
    <p:sldId id="585" r:id="rId22"/>
    <p:sldId id="617" r:id="rId23"/>
    <p:sldId id="2147472944" r:id="rId24"/>
    <p:sldId id="393" r:id="rId25"/>
    <p:sldId id="2147472809" r:id="rId26"/>
    <p:sldId id="388" r:id="rId27"/>
    <p:sldId id="2147472940" r:id="rId28"/>
    <p:sldId id="6301" r:id="rId29"/>
    <p:sldId id="6300" r:id="rId30"/>
    <p:sldId id="6298" r:id="rId31"/>
    <p:sldId id="260" r:id="rId32"/>
    <p:sldId id="264" r:id="rId33"/>
    <p:sldId id="258" r:id="rId34"/>
    <p:sldId id="2147472933" r:id="rId35"/>
    <p:sldId id="2147472937" r:id="rId36"/>
    <p:sldId id="2147472931" r:id="rId37"/>
    <p:sldId id="2147472935" r:id="rId38"/>
    <p:sldId id="2147472939" r:id="rId39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C9E4D7C-A9E5-4348-A0CB-C0EA2E35560D}">
          <p14:sldIdLst>
            <p14:sldId id="256"/>
            <p14:sldId id="257"/>
          </p14:sldIdLst>
        </p14:section>
        <p14:section name="PECO's AMI System" id="{41096D5E-1246-400B-962F-D230D3973D38}">
          <p14:sldIdLst>
            <p14:sldId id="2147472938"/>
            <p14:sldId id="2147475356"/>
            <p14:sldId id="259"/>
          </p14:sldIdLst>
        </p14:section>
        <p14:section name="Meter Obsolescense" id="{1DFC1E58-20AF-471A-9C85-E97E8DB74AE2}">
          <p14:sldIdLst>
            <p14:sldId id="2147472943"/>
            <p14:sldId id="539"/>
            <p14:sldId id="867"/>
            <p14:sldId id="620"/>
          </p14:sldIdLst>
        </p14:section>
        <p14:section name="AMI 2.0?" id="{4C64F94A-1B70-416A-A805-8B1E90D06216}">
          <p14:sldIdLst>
            <p14:sldId id="2147472941"/>
            <p14:sldId id="619"/>
            <p14:sldId id="579"/>
            <p14:sldId id="623"/>
            <p14:sldId id="618"/>
            <p14:sldId id="624"/>
            <p14:sldId id="622"/>
            <p14:sldId id="585"/>
            <p14:sldId id="617"/>
          </p14:sldIdLst>
        </p14:section>
        <p14:section name="System Evoluiton" id="{AB0EE092-00DE-4D99-AA2D-3BFCC741D713}">
          <p14:sldIdLst>
            <p14:sldId id="2147472944"/>
            <p14:sldId id="393"/>
            <p14:sldId id="2147472809"/>
            <p14:sldId id="388"/>
            <p14:sldId id="2147472940"/>
            <p14:sldId id="6301"/>
            <p14:sldId id="6300"/>
            <p14:sldId id="6298"/>
          </p14:sldIdLst>
        </p14:section>
        <p14:section name="Conclusion" id="{8ECE494A-A98D-47F0-94DD-9EC3F581204F}">
          <p14:sldIdLst>
            <p14:sldId id="260"/>
          </p14:sldIdLst>
        </p14:section>
        <p14:section name="Appendix" id="{8602F0EC-F0BB-441D-8938-51F6045C9156}">
          <p14:sldIdLst>
            <p14:sldId id="264"/>
            <p14:sldId id="258"/>
            <p14:sldId id="2147472933"/>
            <p14:sldId id="2147472937"/>
            <p14:sldId id="2147472931"/>
            <p14:sldId id="2147472935"/>
            <p14:sldId id="214747293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001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499ED9A-A09E-49D9-A316-3A61C83271C9}" v="29" dt="2024-07-23T00:46:03.24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555" autoAdjust="0"/>
    <p:restoredTop sz="96327"/>
  </p:normalViewPr>
  <p:slideViewPr>
    <p:cSldViewPr snapToGrid="0">
      <p:cViewPr varScale="1">
        <p:scale>
          <a:sx n="69" d="100"/>
          <a:sy n="69" d="100"/>
        </p:scale>
        <p:origin x="1116" y="7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978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viewProps" Target="viewProp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notesMaster" Target="notesMasters/notesMaster1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heme" Target="theme/theme1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20" Type="http://schemas.openxmlformats.org/officeDocument/2006/relationships/slide" Target="slides/slide15.xml"/><Relationship Id="rId41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C6C0D67-AEDB-4C60-9F3B-7AEA49EDEB8A}" type="doc">
      <dgm:prSet loTypeId="urn:microsoft.com/office/officeart/2005/8/layout/hierarchy6" loCatId="hierarchy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C98BCEA-BF84-4AC9-8C7F-CF9C0B2457C1}">
      <dgm:prSet custT="1"/>
      <dgm:spPr>
        <a:solidFill>
          <a:schemeClr val="accent2">
            <a:lumMod val="75000"/>
          </a:schemeClr>
        </a:solidFill>
        <a:ln>
          <a:solidFill>
            <a:schemeClr val="tx1">
              <a:lumMod val="20000"/>
              <a:lumOff val="80000"/>
            </a:schemeClr>
          </a:solidFill>
        </a:ln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 prst="softRound"/>
          <a:bevelB w="165100" h="254000"/>
        </a:sp3d>
      </dgm:spPr>
      <dgm:t>
        <a:bodyPr/>
        <a:lstStyle/>
        <a:p>
          <a:r>
            <a:rPr lang="en-US" sz="1600" dirty="0"/>
            <a:t>E05 Sr Maintenance Manager </a:t>
          </a:r>
        </a:p>
      </dgm:t>
    </dgm:pt>
    <dgm:pt modelId="{7B516EC9-88A3-4EF0-9B18-89CCD4F0A2E9}" type="sibTrans" cxnId="{92FBFCBC-E114-40B8-9B2F-99E4DE622AFA}">
      <dgm:prSet custT="1"/>
      <dgm:spPr/>
      <dgm:t>
        <a:bodyPr/>
        <a:lstStyle/>
        <a:p>
          <a:endParaRPr lang="en-US"/>
        </a:p>
      </dgm:t>
    </dgm:pt>
    <dgm:pt modelId="{020EACD8-62F5-43B8-8135-9D700F1086D7}" type="parTrans" cxnId="{92FBFCBC-E114-40B8-9B2F-99E4DE622AFA}">
      <dgm:prSet/>
      <dgm:spPr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>
          <a:bevelT w="152400" h="50800" prst="softRound"/>
          <a:bevelB/>
        </a:sp3d>
      </dgm:spPr>
      <dgm:t>
        <a:bodyPr/>
        <a:lstStyle/>
        <a:p>
          <a:endParaRPr lang="en-US"/>
        </a:p>
      </dgm:t>
    </dgm:pt>
    <dgm:pt modelId="{8FCAE792-4444-4F8A-9CC3-20E4F02199CD}">
      <dgm:prSet custT="1"/>
      <dgm:spPr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 prst="softRound"/>
          <a:bevelB w="165100" h="254000"/>
        </a:sp3d>
      </dgm:spPr>
      <dgm:t>
        <a:bodyPr/>
        <a:lstStyle/>
        <a:p>
          <a:r>
            <a:rPr lang="en-US" sz="1600" dirty="0"/>
            <a:t>E06 Director FMS and SGS </a:t>
          </a:r>
        </a:p>
      </dgm:t>
    </dgm:pt>
    <dgm:pt modelId="{C9C4754C-9B75-4C83-BB55-D5CA09EB2067}" type="sibTrans" cxnId="{19D83A7D-900F-45A0-A632-636D84EE1126}">
      <dgm:prSet custT="1"/>
      <dgm:spPr/>
      <dgm:t>
        <a:bodyPr/>
        <a:lstStyle/>
        <a:p>
          <a:endParaRPr lang="en-US"/>
        </a:p>
      </dgm:t>
    </dgm:pt>
    <dgm:pt modelId="{F2E9ED34-73AC-495B-878D-3B706318B9D3}" type="parTrans" cxnId="{19D83A7D-900F-45A0-A632-636D84EE1126}">
      <dgm:prSet/>
      <dgm:spPr/>
      <dgm:t>
        <a:bodyPr/>
        <a:lstStyle/>
        <a:p>
          <a:endParaRPr lang="en-US"/>
        </a:p>
      </dgm:t>
    </dgm:pt>
    <dgm:pt modelId="{1E55B51B-6C2B-4348-9747-54E11D32C10E}">
      <dgm:prSet custT="1"/>
      <dgm:spPr>
        <a:solidFill>
          <a:srgbClr val="170D67"/>
        </a:solidFill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 prst="softRound"/>
          <a:bevelB w="165100" h="254000"/>
        </a:sp3d>
      </dgm:spPr>
      <dgm:t>
        <a:bodyPr/>
        <a:lstStyle/>
        <a:p>
          <a:r>
            <a:rPr lang="en-US" sz="1600" dirty="0"/>
            <a:t>E05 Sr Manager SG Operations</a:t>
          </a:r>
        </a:p>
      </dgm:t>
    </dgm:pt>
    <dgm:pt modelId="{61F910B2-589F-4E21-8C0F-36B3727F8520}" type="parTrans" cxnId="{BE9237AB-30EB-43EF-9225-DF5F24C5D1B8}">
      <dgm:prSet/>
      <dgm:spPr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>
          <a:bevelT w="152400" h="50800" prst="softRound"/>
          <a:bevelB/>
        </a:sp3d>
      </dgm:spPr>
      <dgm:t>
        <a:bodyPr/>
        <a:lstStyle/>
        <a:p>
          <a:endParaRPr lang="en-US"/>
        </a:p>
      </dgm:t>
    </dgm:pt>
    <dgm:pt modelId="{ECADABB7-5D9E-44D5-A75C-901DCD544036}" type="sibTrans" cxnId="{BE9237AB-30EB-43EF-9225-DF5F24C5D1B8}">
      <dgm:prSet custT="1"/>
      <dgm:spPr/>
      <dgm:t>
        <a:bodyPr/>
        <a:lstStyle/>
        <a:p>
          <a:endParaRPr lang="en-US"/>
        </a:p>
      </dgm:t>
    </dgm:pt>
    <dgm:pt modelId="{A0038882-C60A-4C62-A714-48162B8B50B2}">
      <dgm:prSet custT="1"/>
      <dgm:spPr>
        <a:solidFill>
          <a:schemeClr val="accent4">
            <a:lumMod val="75000"/>
          </a:schemeClr>
        </a:solidFill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 prst="softRound"/>
          <a:bevelB w="165100" h="254000"/>
        </a:sp3d>
      </dgm:spPr>
      <dgm:t>
        <a:bodyPr/>
        <a:lstStyle/>
        <a:p>
          <a:r>
            <a:rPr lang="en-US" sz="1600" dirty="0"/>
            <a:t>E05 Sr </a:t>
          </a:r>
          <a:r>
            <a:rPr lang="en-US" sz="1600" dirty="0" err="1"/>
            <a:t>Mgr</a:t>
          </a:r>
          <a:r>
            <a:rPr lang="en-US" sz="1600" dirty="0"/>
            <a:t> SG </a:t>
          </a:r>
          <a:r>
            <a:rPr lang="en-US" sz="1600" dirty="0" err="1"/>
            <a:t>Operatons</a:t>
          </a:r>
          <a:r>
            <a:rPr lang="en-US" sz="1600" dirty="0"/>
            <a:t>  </a:t>
          </a:r>
        </a:p>
      </dgm:t>
    </dgm:pt>
    <dgm:pt modelId="{B681A08A-E476-4263-9A00-4691C04C1D0D}" type="parTrans" cxnId="{3D29628E-07D1-40D9-A568-2CEAC964AFEA}">
      <dgm:prSet/>
      <dgm:spPr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>
          <a:bevelT w="152400" h="50800" prst="softRound"/>
          <a:bevelB/>
        </a:sp3d>
      </dgm:spPr>
      <dgm:t>
        <a:bodyPr/>
        <a:lstStyle/>
        <a:p>
          <a:endParaRPr lang="en-US"/>
        </a:p>
      </dgm:t>
    </dgm:pt>
    <dgm:pt modelId="{99033BCA-F9FD-49A8-8E7C-53E4B8E709D7}" type="sibTrans" cxnId="{3D29628E-07D1-40D9-A568-2CEAC964AFEA}">
      <dgm:prSet custT="1"/>
      <dgm:spPr/>
      <dgm:t>
        <a:bodyPr/>
        <a:lstStyle/>
        <a:p>
          <a:endParaRPr lang="en-US"/>
        </a:p>
      </dgm:t>
    </dgm:pt>
    <dgm:pt modelId="{DEA8B870-73AC-4ACF-BDD3-06F6F9FB0EE6}">
      <dgm:prSet custT="1"/>
      <dgm:spPr>
        <a:solidFill>
          <a:srgbClr val="170D67"/>
        </a:solidFill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 prst="softRound"/>
          <a:bevelB w="165100" h="254000"/>
        </a:sp3d>
      </dgm:spPr>
      <dgm:t>
        <a:bodyPr/>
        <a:lstStyle/>
        <a:p>
          <a:r>
            <a:rPr lang="en-US" sz="1600" dirty="0"/>
            <a:t>Administrative Assistant</a:t>
          </a:r>
        </a:p>
      </dgm:t>
    </dgm:pt>
    <dgm:pt modelId="{17EADB3E-81DA-4CE9-94ED-4D52AE4CB2CF}" type="parTrans" cxnId="{49F39DA1-ED33-432D-AC1B-7D75F35C742A}">
      <dgm:prSet/>
      <dgm:spPr/>
      <dgm:t>
        <a:bodyPr/>
        <a:lstStyle/>
        <a:p>
          <a:endParaRPr lang="en-US"/>
        </a:p>
      </dgm:t>
    </dgm:pt>
    <dgm:pt modelId="{BE98371C-0285-43C7-84FA-4F102D47BDF4}" type="sibTrans" cxnId="{49F39DA1-ED33-432D-AC1B-7D75F35C742A}">
      <dgm:prSet/>
      <dgm:spPr/>
      <dgm:t>
        <a:bodyPr/>
        <a:lstStyle/>
        <a:p>
          <a:endParaRPr lang="en-US"/>
        </a:p>
      </dgm:t>
    </dgm:pt>
    <dgm:pt modelId="{F19922DB-A7ED-4444-9573-AB94BFC0A36E}" type="pres">
      <dgm:prSet presAssocID="{9C6C0D67-AEDB-4C60-9F3B-7AEA49EDEB8A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BB4CF5AA-187F-4795-8785-5A60BD769FAC}" type="pres">
      <dgm:prSet presAssocID="{9C6C0D67-AEDB-4C60-9F3B-7AEA49EDEB8A}" presName="hierFlow" presStyleCnt="0"/>
      <dgm:spPr>
        <a:scene3d>
          <a:camera prst="orthographicFront"/>
          <a:lightRig rig="threePt" dir="t"/>
        </a:scene3d>
        <a:sp3d>
          <a:bevelT w="152400" h="50800" prst="softRound"/>
          <a:bevelB/>
        </a:sp3d>
      </dgm:spPr>
    </dgm:pt>
    <dgm:pt modelId="{EE9F05A3-F925-4BF9-B8CC-3EA6098F9A7C}" type="pres">
      <dgm:prSet presAssocID="{9C6C0D67-AEDB-4C60-9F3B-7AEA49EDEB8A}" presName="hierChild1" presStyleCnt="0">
        <dgm:presLayoutVars>
          <dgm:chPref val="1"/>
          <dgm:animOne val="branch"/>
          <dgm:animLvl val="lvl"/>
        </dgm:presLayoutVars>
      </dgm:prSet>
      <dgm:spPr>
        <a:scene3d>
          <a:camera prst="orthographicFront"/>
          <a:lightRig rig="threePt" dir="t"/>
        </a:scene3d>
        <a:sp3d>
          <a:bevelT w="152400" h="50800" prst="softRound"/>
          <a:bevelB/>
        </a:sp3d>
      </dgm:spPr>
    </dgm:pt>
    <dgm:pt modelId="{CA57B579-37E9-4D2E-B9D7-D877B70FBF3F}" type="pres">
      <dgm:prSet presAssocID="{8FCAE792-4444-4F8A-9CC3-20E4F02199CD}" presName="Name14" presStyleCnt="0"/>
      <dgm:spPr>
        <a:scene3d>
          <a:camera prst="orthographicFront"/>
          <a:lightRig rig="threePt" dir="t"/>
        </a:scene3d>
        <a:sp3d>
          <a:bevelT w="152400" h="50800" prst="softRound"/>
          <a:bevelB/>
        </a:sp3d>
      </dgm:spPr>
    </dgm:pt>
    <dgm:pt modelId="{79611B28-1476-4363-91E4-7C47A8E5D14B}" type="pres">
      <dgm:prSet presAssocID="{8FCAE792-4444-4F8A-9CC3-20E4F02199CD}" presName="level1Shape" presStyleLbl="node0" presStyleIdx="0" presStyleCnt="1">
        <dgm:presLayoutVars>
          <dgm:chPref val="3"/>
        </dgm:presLayoutVars>
      </dgm:prSet>
      <dgm:spPr/>
    </dgm:pt>
    <dgm:pt modelId="{4CB922C8-425B-4C13-B23B-38C0FE0AEC62}" type="pres">
      <dgm:prSet presAssocID="{8FCAE792-4444-4F8A-9CC3-20E4F02199CD}" presName="hierChild2" presStyleCnt="0"/>
      <dgm:spPr>
        <a:scene3d>
          <a:camera prst="orthographicFront"/>
          <a:lightRig rig="threePt" dir="t"/>
        </a:scene3d>
        <a:sp3d>
          <a:bevelT w="152400" h="50800" prst="softRound"/>
          <a:bevelB/>
        </a:sp3d>
      </dgm:spPr>
    </dgm:pt>
    <dgm:pt modelId="{B6EAAEFE-EDE7-4CAE-8D55-F670ACEA95DE}" type="pres">
      <dgm:prSet presAssocID="{020EACD8-62F5-43B8-8135-9D700F1086D7}" presName="Name19" presStyleLbl="parChTrans1D2" presStyleIdx="0" presStyleCnt="4"/>
      <dgm:spPr/>
    </dgm:pt>
    <dgm:pt modelId="{B3B6F562-08A9-4500-858E-3F66E91D8730}" type="pres">
      <dgm:prSet presAssocID="{6C98BCEA-BF84-4AC9-8C7F-CF9C0B2457C1}" presName="Name21" presStyleCnt="0"/>
      <dgm:spPr/>
    </dgm:pt>
    <dgm:pt modelId="{FAD42F89-6B96-4DB5-9623-599BA94169D3}" type="pres">
      <dgm:prSet presAssocID="{6C98BCEA-BF84-4AC9-8C7F-CF9C0B2457C1}" presName="level2Shape" presStyleLbl="node2" presStyleIdx="0" presStyleCnt="4"/>
      <dgm:spPr/>
    </dgm:pt>
    <dgm:pt modelId="{0C7CEA12-883A-4748-AECA-875EEF9818C1}" type="pres">
      <dgm:prSet presAssocID="{6C98BCEA-BF84-4AC9-8C7F-CF9C0B2457C1}" presName="hierChild3" presStyleCnt="0"/>
      <dgm:spPr/>
    </dgm:pt>
    <dgm:pt modelId="{70201EAB-E32E-405C-8E00-3B4D7ECF990C}" type="pres">
      <dgm:prSet presAssocID="{61F910B2-589F-4E21-8C0F-36B3727F8520}" presName="Name19" presStyleLbl="parChTrans1D2" presStyleIdx="1" presStyleCnt="4"/>
      <dgm:spPr/>
    </dgm:pt>
    <dgm:pt modelId="{2AE1D6F2-8A0B-4B36-9EEA-B668CA257462}" type="pres">
      <dgm:prSet presAssocID="{1E55B51B-6C2B-4348-9747-54E11D32C10E}" presName="Name21" presStyleCnt="0"/>
      <dgm:spPr/>
    </dgm:pt>
    <dgm:pt modelId="{59171175-B6B6-446A-8EEE-BAAAC5675FD0}" type="pres">
      <dgm:prSet presAssocID="{1E55B51B-6C2B-4348-9747-54E11D32C10E}" presName="level2Shape" presStyleLbl="node2" presStyleIdx="1" presStyleCnt="4"/>
      <dgm:spPr/>
    </dgm:pt>
    <dgm:pt modelId="{739DA103-FA12-4688-AB4A-75DC53CE72FE}" type="pres">
      <dgm:prSet presAssocID="{1E55B51B-6C2B-4348-9747-54E11D32C10E}" presName="hierChild3" presStyleCnt="0"/>
      <dgm:spPr/>
    </dgm:pt>
    <dgm:pt modelId="{B67FAFC3-2241-4333-B34C-D5FFA6236740}" type="pres">
      <dgm:prSet presAssocID="{17EADB3E-81DA-4CE9-94ED-4D52AE4CB2CF}" presName="Name19" presStyleLbl="parChTrans1D2" presStyleIdx="2" presStyleCnt="4"/>
      <dgm:spPr/>
    </dgm:pt>
    <dgm:pt modelId="{B99900D4-F83A-4955-9617-0B3388C050B6}" type="pres">
      <dgm:prSet presAssocID="{DEA8B870-73AC-4ACF-BDD3-06F6F9FB0EE6}" presName="Name21" presStyleCnt="0"/>
      <dgm:spPr/>
    </dgm:pt>
    <dgm:pt modelId="{CE2B2F78-CFEB-4B72-AF2B-A90834926F48}" type="pres">
      <dgm:prSet presAssocID="{DEA8B870-73AC-4ACF-BDD3-06F6F9FB0EE6}" presName="level2Shape" presStyleLbl="node2" presStyleIdx="2" presStyleCnt="4"/>
      <dgm:spPr/>
    </dgm:pt>
    <dgm:pt modelId="{A3DB9476-0BE1-4E76-BB03-1818157A2698}" type="pres">
      <dgm:prSet presAssocID="{DEA8B870-73AC-4ACF-BDD3-06F6F9FB0EE6}" presName="hierChild3" presStyleCnt="0"/>
      <dgm:spPr/>
    </dgm:pt>
    <dgm:pt modelId="{4032D19E-1A44-4244-8CA6-07707AF364FB}" type="pres">
      <dgm:prSet presAssocID="{B681A08A-E476-4263-9A00-4691C04C1D0D}" presName="Name19" presStyleLbl="parChTrans1D2" presStyleIdx="3" presStyleCnt="4"/>
      <dgm:spPr/>
    </dgm:pt>
    <dgm:pt modelId="{AC567673-F61A-43C0-9D42-C4217F1C50E9}" type="pres">
      <dgm:prSet presAssocID="{A0038882-C60A-4C62-A714-48162B8B50B2}" presName="Name21" presStyleCnt="0"/>
      <dgm:spPr/>
    </dgm:pt>
    <dgm:pt modelId="{82805A89-23B9-446E-BD6B-6869FEC86AC7}" type="pres">
      <dgm:prSet presAssocID="{A0038882-C60A-4C62-A714-48162B8B50B2}" presName="level2Shape" presStyleLbl="node2" presStyleIdx="3" presStyleCnt="4"/>
      <dgm:spPr/>
    </dgm:pt>
    <dgm:pt modelId="{257B1F7A-76BB-43FD-9B39-75E9C03A6FE6}" type="pres">
      <dgm:prSet presAssocID="{A0038882-C60A-4C62-A714-48162B8B50B2}" presName="hierChild3" presStyleCnt="0"/>
      <dgm:spPr/>
    </dgm:pt>
    <dgm:pt modelId="{C089EF45-A6C6-4D99-B160-EC19713A7928}" type="pres">
      <dgm:prSet presAssocID="{9C6C0D67-AEDB-4C60-9F3B-7AEA49EDEB8A}" presName="bgShapesFlow" presStyleCnt="0"/>
      <dgm:spPr>
        <a:scene3d>
          <a:camera prst="orthographicFront"/>
          <a:lightRig rig="threePt" dir="t"/>
        </a:scene3d>
        <a:sp3d>
          <a:bevelT w="152400" h="50800" prst="softRound"/>
          <a:bevelB/>
        </a:sp3d>
      </dgm:spPr>
    </dgm:pt>
  </dgm:ptLst>
  <dgm:cxnLst>
    <dgm:cxn modelId="{69B5E315-BAE4-499C-85B8-392D2C592022}" type="presOf" srcId="{8FCAE792-4444-4F8A-9CC3-20E4F02199CD}" destId="{79611B28-1476-4363-91E4-7C47A8E5D14B}" srcOrd="0" destOrd="0" presId="urn:microsoft.com/office/officeart/2005/8/layout/hierarchy6"/>
    <dgm:cxn modelId="{0609B51A-BD22-4B7F-80C8-960B8305766A}" type="presOf" srcId="{B681A08A-E476-4263-9A00-4691C04C1D0D}" destId="{4032D19E-1A44-4244-8CA6-07707AF364FB}" srcOrd="0" destOrd="0" presId="urn:microsoft.com/office/officeart/2005/8/layout/hierarchy6"/>
    <dgm:cxn modelId="{B7CD9A33-4332-462D-9B60-54B0FBD1E77E}" type="presOf" srcId="{9C6C0D67-AEDB-4C60-9F3B-7AEA49EDEB8A}" destId="{F19922DB-A7ED-4444-9573-AB94BFC0A36E}" srcOrd="0" destOrd="0" presId="urn:microsoft.com/office/officeart/2005/8/layout/hierarchy6"/>
    <dgm:cxn modelId="{3419C167-2422-4DC5-ACC3-048D696ED3E5}" type="presOf" srcId="{61F910B2-589F-4E21-8C0F-36B3727F8520}" destId="{70201EAB-E32E-405C-8E00-3B4D7ECF990C}" srcOrd="0" destOrd="0" presId="urn:microsoft.com/office/officeart/2005/8/layout/hierarchy6"/>
    <dgm:cxn modelId="{E90EFA69-D68D-477A-8B50-337036358510}" type="presOf" srcId="{A0038882-C60A-4C62-A714-48162B8B50B2}" destId="{82805A89-23B9-446E-BD6B-6869FEC86AC7}" srcOrd="0" destOrd="0" presId="urn:microsoft.com/office/officeart/2005/8/layout/hierarchy6"/>
    <dgm:cxn modelId="{A9461852-3EB7-47D1-B5E5-7CA1893C947D}" type="presOf" srcId="{020EACD8-62F5-43B8-8135-9D700F1086D7}" destId="{B6EAAEFE-EDE7-4CAE-8D55-F670ACEA95DE}" srcOrd="0" destOrd="0" presId="urn:microsoft.com/office/officeart/2005/8/layout/hierarchy6"/>
    <dgm:cxn modelId="{19D83A7D-900F-45A0-A632-636D84EE1126}" srcId="{9C6C0D67-AEDB-4C60-9F3B-7AEA49EDEB8A}" destId="{8FCAE792-4444-4F8A-9CC3-20E4F02199CD}" srcOrd="0" destOrd="0" parTransId="{F2E9ED34-73AC-495B-878D-3B706318B9D3}" sibTransId="{C9C4754C-9B75-4C83-BB55-D5CA09EB2067}"/>
    <dgm:cxn modelId="{3D29628E-07D1-40D9-A568-2CEAC964AFEA}" srcId="{8FCAE792-4444-4F8A-9CC3-20E4F02199CD}" destId="{A0038882-C60A-4C62-A714-48162B8B50B2}" srcOrd="3" destOrd="0" parTransId="{B681A08A-E476-4263-9A00-4691C04C1D0D}" sibTransId="{99033BCA-F9FD-49A8-8E7C-53E4B8E709D7}"/>
    <dgm:cxn modelId="{E045558E-2771-4E9B-9D16-F8ECB3B2AC39}" type="presOf" srcId="{1E55B51B-6C2B-4348-9747-54E11D32C10E}" destId="{59171175-B6B6-446A-8EEE-BAAAC5675FD0}" srcOrd="0" destOrd="0" presId="urn:microsoft.com/office/officeart/2005/8/layout/hierarchy6"/>
    <dgm:cxn modelId="{49F39DA1-ED33-432D-AC1B-7D75F35C742A}" srcId="{8FCAE792-4444-4F8A-9CC3-20E4F02199CD}" destId="{DEA8B870-73AC-4ACF-BDD3-06F6F9FB0EE6}" srcOrd="2" destOrd="0" parTransId="{17EADB3E-81DA-4CE9-94ED-4D52AE4CB2CF}" sibTransId="{BE98371C-0285-43C7-84FA-4F102D47BDF4}"/>
    <dgm:cxn modelId="{BE9237AB-30EB-43EF-9225-DF5F24C5D1B8}" srcId="{8FCAE792-4444-4F8A-9CC3-20E4F02199CD}" destId="{1E55B51B-6C2B-4348-9747-54E11D32C10E}" srcOrd="1" destOrd="0" parTransId="{61F910B2-589F-4E21-8C0F-36B3727F8520}" sibTransId="{ECADABB7-5D9E-44D5-A75C-901DCD544036}"/>
    <dgm:cxn modelId="{92FBFCBC-E114-40B8-9B2F-99E4DE622AFA}" srcId="{8FCAE792-4444-4F8A-9CC3-20E4F02199CD}" destId="{6C98BCEA-BF84-4AC9-8C7F-CF9C0B2457C1}" srcOrd="0" destOrd="0" parTransId="{020EACD8-62F5-43B8-8135-9D700F1086D7}" sibTransId="{7B516EC9-88A3-4EF0-9B18-89CCD4F0A2E9}"/>
    <dgm:cxn modelId="{412E41BD-3681-483C-A37E-827FC8A631BF}" type="presOf" srcId="{17EADB3E-81DA-4CE9-94ED-4D52AE4CB2CF}" destId="{B67FAFC3-2241-4333-B34C-D5FFA6236740}" srcOrd="0" destOrd="0" presId="urn:microsoft.com/office/officeart/2005/8/layout/hierarchy6"/>
    <dgm:cxn modelId="{900B7FC5-79FF-4010-B6CB-93E23AA50756}" type="presOf" srcId="{DEA8B870-73AC-4ACF-BDD3-06F6F9FB0EE6}" destId="{CE2B2F78-CFEB-4B72-AF2B-A90834926F48}" srcOrd="0" destOrd="0" presId="urn:microsoft.com/office/officeart/2005/8/layout/hierarchy6"/>
    <dgm:cxn modelId="{0258ACFD-292E-48CE-B11A-ACDDD29008C8}" type="presOf" srcId="{6C98BCEA-BF84-4AC9-8C7F-CF9C0B2457C1}" destId="{FAD42F89-6B96-4DB5-9623-599BA94169D3}" srcOrd="0" destOrd="0" presId="urn:microsoft.com/office/officeart/2005/8/layout/hierarchy6"/>
    <dgm:cxn modelId="{1890A092-D567-4530-ADEC-5B812020B718}" type="presParOf" srcId="{F19922DB-A7ED-4444-9573-AB94BFC0A36E}" destId="{BB4CF5AA-187F-4795-8785-5A60BD769FAC}" srcOrd="0" destOrd="0" presId="urn:microsoft.com/office/officeart/2005/8/layout/hierarchy6"/>
    <dgm:cxn modelId="{CB88535D-02B6-4C25-B9A5-5308E80FECFE}" type="presParOf" srcId="{BB4CF5AA-187F-4795-8785-5A60BD769FAC}" destId="{EE9F05A3-F925-4BF9-B8CC-3EA6098F9A7C}" srcOrd="0" destOrd="0" presId="urn:microsoft.com/office/officeart/2005/8/layout/hierarchy6"/>
    <dgm:cxn modelId="{846EFA3C-090F-4200-9B1D-F52E19F05970}" type="presParOf" srcId="{EE9F05A3-F925-4BF9-B8CC-3EA6098F9A7C}" destId="{CA57B579-37E9-4D2E-B9D7-D877B70FBF3F}" srcOrd="0" destOrd="0" presId="urn:microsoft.com/office/officeart/2005/8/layout/hierarchy6"/>
    <dgm:cxn modelId="{A56F811C-6D0C-4D51-8C23-AF6FF4820B06}" type="presParOf" srcId="{CA57B579-37E9-4D2E-B9D7-D877B70FBF3F}" destId="{79611B28-1476-4363-91E4-7C47A8E5D14B}" srcOrd="0" destOrd="0" presId="urn:microsoft.com/office/officeart/2005/8/layout/hierarchy6"/>
    <dgm:cxn modelId="{8FC59102-473D-4156-86B3-91232964FECD}" type="presParOf" srcId="{CA57B579-37E9-4D2E-B9D7-D877B70FBF3F}" destId="{4CB922C8-425B-4C13-B23B-38C0FE0AEC62}" srcOrd="1" destOrd="0" presId="urn:microsoft.com/office/officeart/2005/8/layout/hierarchy6"/>
    <dgm:cxn modelId="{2927126B-C42C-4DC4-8EDA-36469AB31F9D}" type="presParOf" srcId="{4CB922C8-425B-4C13-B23B-38C0FE0AEC62}" destId="{B6EAAEFE-EDE7-4CAE-8D55-F670ACEA95DE}" srcOrd="0" destOrd="0" presId="urn:microsoft.com/office/officeart/2005/8/layout/hierarchy6"/>
    <dgm:cxn modelId="{40023102-3BCC-48A8-8784-46C825B669D4}" type="presParOf" srcId="{4CB922C8-425B-4C13-B23B-38C0FE0AEC62}" destId="{B3B6F562-08A9-4500-858E-3F66E91D8730}" srcOrd="1" destOrd="0" presId="urn:microsoft.com/office/officeart/2005/8/layout/hierarchy6"/>
    <dgm:cxn modelId="{A88023AE-B088-48C9-8B33-794F9BBD4049}" type="presParOf" srcId="{B3B6F562-08A9-4500-858E-3F66E91D8730}" destId="{FAD42F89-6B96-4DB5-9623-599BA94169D3}" srcOrd="0" destOrd="0" presId="urn:microsoft.com/office/officeart/2005/8/layout/hierarchy6"/>
    <dgm:cxn modelId="{9F377D99-E881-42AA-8BC7-F5242B6C3E2E}" type="presParOf" srcId="{B3B6F562-08A9-4500-858E-3F66E91D8730}" destId="{0C7CEA12-883A-4748-AECA-875EEF9818C1}" srcOrd="1" destOrd="0" presId="urn:microsoft.com/office/officeart/2005/8/layout/hierarchy6"/>
    <dgm:cxn modelId="{7E51FCA6-6008-46E8-A3A3-AFB038B409A1}" type="presParOf" srcId="{4CB922C8-425B-4C13-B23B-38C0FE0AEC62}" destId="{70201EAB-E32E-405C-8E00-3B4D7ECF990C}" srcOrd="2" destOrd="0" presId="urn:microsoft.com/office/officeart/2005/8/layout/hierarchy6"/>
    <dgm:cxn modelId="{6AAB3927-3090-4A58-B0DB-A49262CAAA63}" type="presParOf" srcId="{4CB922C8-425B-4C13-B23B-38C0FE0AEC62}" destId="{2AE1D6F2-8A0B-4B36-9EEA-B668CA257462}" srcOrd="3" destOrd="0" presId="urn:microsoft.com/office/officeart/2005/8/layout/hierarchy6"/>
    <dgm:cxn modelId="{C8297F42-43C3-41E6-A34A-4B93F9A84408}" type="presParOf" srcId="{2AE1D6F2-8A0B-4B36-9EEA-B668CA257462}" destId="{59171175-B6B6-446A-8EEE-BAAAC5675FD0}" srcOrd="0" destOrd="0" presId="urn:microsoft.com/office/officeart/2005/8/layout/hierarchy6"/>
    <dgm:cxn modelId="{F192E5AB-53C6-4C59-8927-998257A60200}" type="presParOf" srcId="{2AE1D6F2-8A0B-4B36-9EEA-B668CA257462}" destId="{739DA103-FA12-4688-AB4A-75DC53CE72FE}" srcOrd="1" destOrd="0" presId="urn:microsoft.com/office/officeart/2005/8/layout/hierarchy6"/>
    <dgm:cxn modelId="{677F8127-8E54-498F-B70C-65568C014933}" type="presParOf" srcId="{4CB922C8-425B-4C13-B23B-38C0FE0AEC62}" destId="{B67FAFC3-2241-4333-B34C-D5FFA6236740}" srcOrd="4" destOrd="0" presId="urn:microsoft.com/office/officeart/2005/8/layout/hierarchy6"/>
    <dgm:cxn modelId="{1E71ED4F-3882-41C4-8152-B3C2F753F8F0}" type="presParOf" srcId="{4CB922C8-425B-4C13-B23B-38C0FE0AEC62}" destId="{B99900D4-F83A-4955-9617-0B3388C050B6}" srcOrd="5" destOrd="0" presId="urn:microsoft.com/office/officeart/2005/8/layout/hierarchy6"/>
    <dgm:cxn modelId="{A1B8085F-C17F-4E12-9783-D48F2EA17F88}" type="presParOf" srcId="{B99900D4-F83A-4955-9617-0B3388C050B6}" destId="{CE2B2F78-CFEB-4B72-AF2B-A90834926F48}" srcOrd="0" destOrd="0" presId="urn:microsoft.com/office/officeart/2005/8/layout/hierarchy6"/>
    <dgm:cxn modelId="{11CE9FDA-3685-4156-A50B-D4469D13B9C8}" type="presParOf" srcId="{B99900D4-F83A-4955-9617-0B3388C050B6}" destId="{A3DB9476-0BE1-4E76-BB03-1818157A2698}" srcOrd="1" destOrd="0" presId="urn:microsoft.com/office/officeart/2005/8/layout/hierarchy6"/>
    <dgm:cxn modelId="{125E44C3-26B3-4C9B-A8E6-8F4988555990}" type="presParOf" srcId="{4CB922C8-425B-4C13-B23B-38C0FE0AEC62}" destId="{4032D19E-1A44-4244-8CA6-07707AF364FB}" srcOrd="6" destOrd="0" presId="urn:microsoft.com/office/officeart/2005/8/layout/hierarchy6"/>
    <dgm:cxn modelId="{693AA127-97C2-4063-B809-B1874ED3C6BC}" type="presParOf" srcId="{4CB922C8-425B-4C13-B23B-38C0FE0AEC62}" destId="{AC567673-F61A-43C0-9D42-C4217F1C50E9}" srcOrd="7" destOrd="0" presId="urn:microsoft.com/office/officeart/2005/8/layout/hierarchy6"/>
    <dgm:cxn modelId="{8DDC8EBC-70A7-495E-8337-C1416983A7B8}" type="presParOf" srcId="{AC567673-F61A-43C0-9D42-C4217F1C50E9}" destId="{82805A89-23B9-446E-BD6B-6869FEC86AC7}" srcOrd="0" destOrd="0" presId="urn:microsoft.com/office/officeart/2005/8/layout/hierarchy6"/>
    <dgm:cxn modelId="{161A3BAF-5989-4A39-A88D-82EAD4F680B3}" type="presParOf" srcId="{AC567673-F61A-43C0-9D42-C4217F1C50E9}" destId="{257B1F7A-76BB-43FD-9B39-75E9C03A6FE6}" srcOrd="1" destOrd="0" presId="urn:microsoft.com/office/officeart/2005/8/layout/hierarchy6"/>
    <dgm:cxn modelId="{640D6188-206F-4F05-904A-F25CACD7CC8C}" type="presParOf" srcId="{F19922DB-A7ED-4444-9573-AB94BFC0A36E}" destId="{C089EF45-A6C6-4D99-B160-EC19713A7928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C6C0D67-AEDB-4C60-9F3B-7AEA49EDEB8A}" type="doc">
      <dgm:prSet loTypeId="urn:microsoft.com/office/officeart/2005/8/layout/orgChart1" loCatId="hierarchy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C98BCEA-BF84-4AC9-8C7F-CF9C0B2457C1}">
      <dgm:prSet custT="1"/>
      <dgm:spPr/>
      <dgm:t>
        <a:bodyPr/>
        <a:lstStyle/>
        <a:p>
          <a:r>
            <a:rPr lang="en-US" sz="1000" dirty="0"/>
            <a:t>E04 </a:t>
          </a:r>
          <a:r>
            <a:rPr lang="en-US" sz="1000" dirty="0" err="1"/>
            <a:t>Mgr</a:t>
          </a:r>
          <a:r>
            <a:rPr lang="en-US" sz="1000" dirty="0"/>
            <a:t> Analytics</a:t>
          </a:r>
        </a:p>
        <a:p>
          <a:endParaRPr lang="en-US" sz="1000" dirty="0"/>
        </a:p>
      </dgm:t>
    </dgm:pt>
    <dgm:pt modelId="{7B516EC9-88A3-4EF0-9B18-89CCD4F0A2E9}" type="sibTrans" cxnId="{92FBFCBC-E114-40B8-9B2F-99E4DE622AFA}">
      <dgm:prSet custT="1"/>
      <dgm:spPr/>
      <dgm:t>
        <a:bodyPr/>
        <a:lstStyle/>
        <a:p>
          <a:endParaRPr lang="en-US"/>
        </a:p>
      </dgm:t>
    </dgm:pt>
    <dgm:pt modelId="{020EACD8-62F5-43B8-8135-9D700F1086D7}" type="parTrans" cxnId="{92FBFCBC-E114-40B8-9B2F-99E4DE622AFA}">
      <dgm:prSet/>
      <dgm:spPr/>
      <dgm:t>
        <a:bodyPr/>
        <a:lstStyle/>
        <a:p>
          <a:endParaRPr lang="en-US"/>
        </a:p>
      </dgm:t>
    </dgm:pt>
    <dgm:pt modelId="{8FCAE792-4444-4F8A-9CC3-20E4F02199CD}">
      <dgm:prSet custT="1"/>
      <dgm:spPr/>
      <dgm:t>
        <a:bodyPr/>
        <a:lstStyle/>
        <a:p>
          <a:r>
            <a:rPr lang="en-US" sz="1000" dirty="0"/>
            <a:t>E05 Sr Manager Advanced Grid Ops/Analytics</a:t>
          </a:r>
        </a:p>
        <a:p>
          <a:r>
            <a:rPr lang="en-US" sz="1000" dirty="0"/>
            <a:t>Glen Murphy </a:t>
          </a:r>
        </a:p>
      </dgm:t>
    </dgm:pt>
    <dgm:pt modelId="{C9C4754C-9B75-4C83-BB55-D5CA09EB2067}" type="sibTrans" cxnId="{19D83A7D-900F-45A0-A632-636D84EE1126}">
      <dgm:prSet custT="1"/>
      <dgm:spPr/>
      <dgm:t>
        <a:bodyPr/>
        <a:lstStyle/>
        <a:p>
          <a:endParaRPr lang="en-US"/>
        </a:p>
      </dgm:t>
    </dgm:pt>
    <dgm:pt modelId="{F2E9ED34-73AC-495B-878D-3B706318B9D3}" type="parTrans" cxnId="{19D83A7D-900F-45A0-A632-636D84EE1126}">
      <dgm:prSet/>
      <dgm:spPr/>
      <dgm:t>
        <a:bodyPr/>
        <a:lstStyle/>
        <a:p>
          <a:endParaRPr lang="en-US"/>
        </a:p>
      </dgm:t>
    </dgm:pt>
    <dgm:pt modelId="{A0038882-C60A-4C62-A714-48162B8B50B2}">
      <dgm:prSet custT="1"/>
      <dgm:spPr/>
      <dgm:t>
        <a:bodyPr/>
        <a:lstStyle/>
        <a:p>
          <a:r>
            <a:rPr lang="en-US" sz="1000" dirty="0"/>
            <a:t>E04 </a:t>
          </a:r>
          <a:r>
            <a:rPr lang="en-US" sz="1000" dirty="0" err="1"/>
            <a:t>Mgr</a:t>
          </a:r>
          <a:r>
            <a:rPr lang="en-US" sz="1000" dirty="0"/>
            <a:t> SG Ops &amp; Special Projects </a:t>
          </a:r>
        </a:p>
      </dgm:t>
    </dgm:pt>
    <dgm:pt modelId="{B681A08A-E476-4263-9A00-4691C04C1D0D}" type="parTrans" cxnId="{3D29628E-07D1-40D9-A568-2CEAC964AFEA}">
      <dgm:prSet/>
      <dgm:spPr/>
      <dgm:t>
        <a:bodyPr/>
        <a:lstStyle/>
        <a:p>
          <a:endParaRPr lang="en-US"/>
        </a:p>
      </dgm:t>
    </dgm:pt>
    <dgm:pt modelId="{99033BCA-F9FD-49A8-8E7C-53E4B8E709D7}" type="sibTrans" cxnId="{3D29628E-07D1-40D9-A568-2CEAC964AFEA}">
      <dgm:prSet custT="1"/>
      <dgm:spPr/>
      <dgm:t>
        <a:bodyPr/>
        <a:lstStyle/>
        <a:p>
          <a:endParaRPr lang="en-US"/>
        </a:p>
      </dgm:t>
    </dgm:pt>
    <dgm:pt modelId="{EDC08F4C-4CF2-45FE-B29B-7FBCA2554165}">
      <dgm:prSet custT="1"/>
      <dgm:spPr/>
      <dgm:t>
        <a:bodyPr/>
        <a:lstStyle/>
        <a:p>
          <a:r>
            <a:rPr lang="en-US" sz="1000" dirty="0"/>
            <a:t>1 Bus Analyst</a:t>
          </a:r>
        </a:p>
        <a:p>
          <a:r>
            <a:rPr lang="en-US" sz="1000" dirty="0"/>
            <a:t>2 Sr Quantitative Analyst </a:t>
          </a:r>
        </a:p>
        <a:p>
          <a:r>
            <a:rPr lang="en-US" sz="1000" dirty="0"/>
            <a:t>2 Sr Business Analyst</a:t>
          </a:r>
        </a:p>
        <a:p>
          <a:r>
            <a:rPr lang="en-US" sz="1000" dirty="0"/>
            <a:t>1 Assoc Business Analyst  </a:t>
          </a:r>
        </a:p>
      </dgm:t>
    </dgm:pt>
    <dgm:pt modelId="{EBC96106-9246-4613-A940-96BEAB92741B}" type="parTrans" cxnId="{3F1163EF-5364-4C8E-BB52-5A7B1A3E567D}">
      <dgm:prSet/>
      <dgm:spPr/>
      <dgm:t>
        <a:bodyPr/>
        <a:lstStyle/>
        <a:p>
          <a:endParaRPr lang="en-US"/>
        </a:p>
      </dgm:t>
    </dgm:pt>
    <dgm:pt modelId="{2418D5CA-672D-468A-9D31-47140EBEDF24}" type="sibTrans" cxnId="{3F1163EF-5364-4C8E-BB52-5A7B1A3E567D}">
      <dgm:prSet custT="1"/>
      <dgm:spPr/>
      <dgm:t>
        <a:bodyPr/>
        <a:lstStyle/>
        <a:p>
          <a:pPr algn="ctr"/>
          <a:endParaRPr lang="en-US" sz="800" dirty="0"/>
        </a:p>
      </dgm:t>
    </dgm:pt>
    <dgm:pt modelId="{F2F58ACD-BA59-4597-AAF4-C00CBDBEB3B5}">
      <dgm:prSet custT="1"/>
      <dgm:spPr/>
      <dgm:t>
        <a:bodyPr/>
        <a:lstStyle/>
        <a:p>
          <a:r>
            <a:rPr lang="en-US" sz="1000" dirty="0"/>
            <a:t>1 AMI Ops Supervisor </a:t>
          </a:r>
        </a:p>
        <a:p>
          <a:r>
            <a:rPr lang="en-US" sz="1000" dirty="0"/>
            <a:t>2 Sr Business Analysts </a:t>
          </a:r>
        </a:p>
      </dgm:t>
    </dgm:pt>
    <dgm:pt modelId="{C40840FF-0582-4CF2-B0CA-B5A76913C9ED}" type="parTrans" cxnId="{39B47886-9C6D-49B8-892E-BFE2FC4D4675}">
      <dgm:prSet/>
      <dgm:spPr/>
      <dgm:t>
        <a:bodyPr/>
        <a:lstStyle/>
        <a:p>
          <a:endParaRPr lang="en-US"/>
        </a:p>
      </dgm:t>
    </dgm:pt>
    <dgm:pt modelId="{07A830ED-BB55-4765-A00D-6B2C6B6E5FD1}" type="sibTrans" cxnId="{39B47886-9C6D-49B8-892E-BFE2FC4D4675}">
      <dgm:prSet/>
      <dgm:spPr/>
      <dgm:t>
        <a:bodyPr/>
        <a:lstStyle/>
        <a:p>
          <a:endParaRPr lang="en-US"/>
        </a:p>
      </dgm:t>
    </dgm:pt>
    <dgm:pt modelId="{F90757AB-A607-4385-9822-85BD987BE637}">
      <dgm:prSet custT="1"/>
      <dgm:spPr/>
      <dgm:t>
        <a:bodyPr/>
        <a:lstStyle/>
        <a:p>
          <a:r>
            <a:rPr lang="en-US" sz="1000" dirty="0"/>
            <a:t>E04 Principal Business Analyst  </a:t>
          </a:r>
        </a:p>
      </dgm:t>
    </dgm:pt>
    <dgm:pt modelId="{4E20F31D-BBC5-4A64-9754-14DE1AE5DFF5}" type="parTrans" cxnId="{0757C5CF-A6ED-4E9E-A880-A8D19689ED1C}">
      <dgm:prSet/>
      <dgm:spPr/>
      <dgm:t>
        <a:bodyPr/>
        <a:lstStyle/>
        <a:p>
          <a:endParaRPr lang="en-US"/>
        </a:p>
      </dgm:t>
    </dgm:pt>
    <dgm:pt modelId="{3EFFD6F8-4D5E-482B-BDAA-B42FF69109F0}" type="sibTrans" cxnId="{0757C5CF-A6ED-4E9E-A880-A8D19689ED1C}">
      <dgm:prSet/>
      <dgm:spPr/>
      <dgm:t>
        <a:bodyPr/>
        <a:lstStyle/>
        <a:p>
          <a:endParaRPr lang="en-US"/>
        </a:p>
      </dgm:t>
    </dgm:pt>
    <dgm:pt modelId="{5F6D9254-86DA-4A6A-9C9F-94EE3505D820}">
      <dgm:prSet custT="1"/>
      <dgm:spPr/>
      <dgm:t>
        <a:bodyPr/>
        <a:lstStyle/>
        <a:p>
          <a:r>
            <a:rPr lang="en-US" sz="1000" dirty="0"/>
            <a:t>E04 Meter Maintenance Back Office </a:t>
          </a:r>
        </a:p>
      </dgm:t>
    </dgm:pt>
    <dgm:pt modelId="{A1DFE743-E5D4-4101-903E-D37A89B2EB50}" type="sibTrans" cxnId="{78B61E8C-3D7E-465F-B24F-5E1CA1894A96}">
      <dgm:prSet custT="1"/>
      <dgm:spPr/>
      <dgm:t>
        <a:bodyPr/>
        <a:lstStyle/>
        <a:p>
          <a:endParaRPr lang="en-US"/>
        </a:p>
      </dgm:t>
    </dgm:pt>
    <dgm:pt modelId="{29617F3D-9BE4-43C3-AE53-27C1D01DC0DD}" type="parTrans" cxnId="{78B61E8C-3D7E-465F-B24F-5E1CA1894A96}">
      <dgm:prSet/>
      <dgm:spPr/>
      <dgm:t>
        <a:bodyPr/>
        <a:lstStyle/>
        <a:p>
          <a:endParaRPr lang="en-US"/>
        </a:p>
      </dgm:t>
    </dgm:pt>
    <dgm:pt modelId="{29E990F4-C0A3-49D7-AA65-E2E39EC464ED}">
      <dgm:prSet custT="1"/>
      <dgm:spPr/>
      <dgm:t>
        <a:bodyPr/>
        <a:lstStyle/>
        <a:p>
          <a:r>
            <a:rPr lang="en-US" sz="1000" dirty="0"/>
            <a:t>1 Sr. Business Analyst—Vendor Manager—N. Nayee</a:t>
          </a:r>
        </a:p>
        <a:p>
          <a:r>
            <a:rPr lang="en-US" sz="1000" dirty="0"/>
            <a:t>1 Sr. Contract Coordinator—TBD</a:t>
          </a:r>
        </a:p>
      </dgm:t>
    </dgm:pt>
    <dgm:pt modelId="{90F94CE1-B302-44CF-9740-3D2B2961B495}" type="parTrans" cxnId="{4EDBD652-6F48-48DC-BAE4-EA92150368D2}">
      <dgm:prSet/>
      <dgm:spPr/>
      <dgm:t>
        <a:bodyPr/>
        <a:lstStyle/>
        <a:p>
          <a:endParaRPr lang="en-US"/>
        </a:p>
      </dgm:t>
    </dgm:pt>
    <dgm:pt modelId="{B3EA012D-754E-4598-8656-4C105052BD8C}" type="sibTrans" cxnId="{4EDBD652-6F48-48DC-BAE4-EA92150368D2}">
      <dgm:prSet/>
      <dgm:spPr/>
      <dgm:t>
        <a:bodyPr/>
        <a:lstStyle/>
        <a:p>
          <a:endParaRPr lang="en-US"/>
        </a:p>
      </dgm:t>
    </dgm:pt>
    <dgm:pt modelId="{DCAA639E-428C-4344-9865-E12213DD3BD2}">
      <dgm:prSet/>
      <dgm:spPr/>
      <dgm:t>
        <a:bodyPr/>
        <a:lstStyle/>
        <a:p>
          <a:r>
            <a:rPr lang="en-US" dirty="0"/>
            <a:t>1 Business Analyst—B. Enz</a:t>
          </a:r>
        </a:p>
        <a:p>
          <a:r>
            <a:rPr lang="en-US" dirty="0"/>
            <a:t>1 Assoc. Business Analyst —V. Elliot                                        </a:t>
          </a:r>
          <a:r>
            <a:rPr lang="en-US" dirty="0">
              <a:solidFill>
                <a:srgbClr val="FFC000"/>
              </a:solidFill>
            </a:rPr>
            <a:t>(4) Back office Contractors </a:t>
          </a:r>
        </a:p>
        <a:p>
          <a:r>
            <a:rPr lang="en-US" dirty="0">
              <a:solidFill>
                <a:srgbClr val="FFC000"/>
              </a:solidFill>
            </a:rPr>
            <a:t>(2) CCB Contractors until 6/2024</a:t>
          </a:r>
        </a:p>
      </dgm:t>
    </dgm:pt>
    <dgm:pt modelId="{BE58E78D-BE18-43FE-8E6A-A878F100BDD6}" type="parTrans" cxnId="{965FBBBF-BEE4-480E-97AA-ECD496D254D6}">
      <dgm:prSet/>
      <dgm:spPr/>
      <dgm:t>
        <a:bodyPr/>
        <a:lstStyle/>
        <a:p>
          <a:endParaRPr lang="en-US"/>
        </a:p>
      </dgm:t>
    </dgm:pt>
    <dgm:pt modelId="{D45AC272-ABB5-43BF-9D1F-DE33C4501261}" type="sibTrans" cxnId="{965FBBBF-BEE4-480E-97AA-ECD496D254D6}">
      <dgm:prSet/>
      <dgm:spPr/>
      <dgm:t>
        <a:bodyPr/>
        <a:lstStyle/>
        <a:p>
          <a:endParaRPr lang="en-US"/>
        </a:p>
      </dgm:t>
    </dgm:pt>
    <dgm:pt modelId="{87981ABE-56D1-4EC8-87B0-115950B6837B}">
      <dgm:prSet custT="1"/>
      <dgm:spPr/>
      <dgm:t>
        <a:bodyPr/>
        <a:lstStyle/>
        <a:p>
          <a:r>
            <a:rPr lang="en-US" sz="1000" dirty="0"/>
            <a:t>1 E02 Work Planner (Accenture) – A. Wilson</a:t>
          </a:r>
        </a:p>
        <a:p>
          <a:r>
            <a:rPr lang="en-US" sz="1000" dirty="0">
              <a:solidFill>
                <a:srgbClr val="FF8300"/>
              </a:solidFill>
            </a:rPr>
            <a:t>(14) Offshore Accenture Contractors</a:t>
          </a:r>
          <a:endParaRPr lang="en-US" sz="1000" dirty="0"/>
        </a:p>
        <a:p>
          <a:endParaRPr lang="en-US" sz="1000" dirty="0"/>
        </a:p>
        <a:p>
          <a:r>
            <a:rPr lang="en-US" sz="1000" dirty="0"/>
            <a:t>1 MM Back Office supervisor- N. Panetta</a:t>
          </a:r>
        </a:p>
        <a:p>
          <a:r>
            <a:rPr lang="en-US" sz="1000" dirty="0"/>
            <a:t>(4)- Business Analyst </a:t>
          </a:r>
        </a:p>
        <a:p>
          <a:r>
            <a:rPr lang="en-US" sz="1000" dirty="0"/>
            <a:t>(4) – Associate Business Analyst</a:t>
          </a:r>
        </a:p>
        <a:p>
          <a:r>
            <a:rPr lang="en-US" sz="1000" dirty="0">
              <a:solidFill>
                <a:srgbClr val="FF8300"/>
              </a:solidFill>
            </a:rPr>
            <a:t>(2) Long Term MM back-office Contractors </a:t>
          </a:r>
          <a:endParaRPr lang="en-US" sz="1000" dirty="0"/>
        </a:p>
        <a:p>
          <a:r>
            <a:rPr lang="en-US" sz="1000" dirty="0"/>
            <a:t> </a:t>
          </a:r>
        </a:p>
        <a:p>
          <a:r>
            <a:rPr lang="en-US" sz="1000" dirty="0"/>
            <a:t>1 Rev Pro Back Office Supervisor- M. Salahuddin </a:t>
          </a:r>
        </a:p>
        <a:p>
          <a:r>
            <a:rPr lang="en-US" sz="1000" dirty="0"/>
            <a:t>(2) Business Analyst</a:t>
          </a:r>
        </a:p>
        <a:p>
          <a:r>
            <a:rPr lang="en-US" sz="1000" dirty="0"/>
            <a:t>(4) Associate Business Analyst</a:t>
          </a:r>
        </a:p>
        <a:p>
          <a:r>
            <a:rPr lang="en-US" sz="1000" dirty="0"/>
            <a:t>(2) U12</a:t>
          </a:r>
        </a:p>
        <a:p>
          <a:endParaRPr lang="en-US" sz="1000" dirty="0"/>
        </a:p>
      </dgm:t>
    </dgm:pt>
    <dgm:pt modelId="{B61D761F-85CD-432F-BE5F-1A2EFD3CF51A}" type="sibTrans" cxnId="{E36B36E3-B4F4-4E63-B393-8BACF31481F8}">
      <dgm:prSet/>
      <dgm:spPr/>
      <dgm:t>
        <a:bodyPr/>
        <a:lstStyle/>
        <a:p>
          <a:endParaRPr lang="en-US"/>
        </a:p>
      </dgm:t>
    </dgm:pt>
    <dgm:pt modelId="{590F9F94-3E45-49E0-B6C2-66164BBA7183}" type="parTrans" cxnId="{E36B36E3-B4F4-4E63-B393-8BACF31481F8}">
      <dgm:prSet/>
      <dgm:spPr/>
      <dgm:t>
        <a:bodyPr/>
        <a:lstStyle/>
        <a:p>
          <a:endParaRPr lang="en-US"/>
        </a:p>
      </dgm:t>
    </dgm:pt>
    <dgm:pt modelId="{5810AA02-1DFA-4ED7-90E2-2C54ADAF8A57}" type="pres">
      <dgm:prSet presAssocID="{9C6C0D67-AEDB-4C60-9F3B-7AEA49EDEB8A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DC56C1D8-8E64-457C-A5A9-5C6C7C802083}" type="pres">
      <dgm:prSet presAssocID="{8FCAE792-4444-4F8A-9CC3-20E4F02199CD}" presName="hierRoot1" presStyleCnt="0">
        <dgm:presLayoutVars>
          <dgm:hierBranch val="init"/>
        </dgm:presLayoutVars>
      </dgm:prSet>
      <dgm:spPr/>
    </dgm:pt>
    <dgm:pt modelId="{A797B129-4840-4960-8D3C-5492F2F69459}" type="pres">
      <dgm:prSet presAssocID="{8FCAE792-4444-4F8A-9CC3-20E4F02199CD}" presName="rootComposite1" presStyleCnt="0"/>
      <dgm:spPr/>
    </dgm:pt>
    <dgm:pt modelId="{20212043-6178-40F4-BD51-459C813622E0}" type="pres">
      <dgm:prSet presAssocID="{8FCAE792-4444-4F8A-9CC3-20E4F02199CD}" presName="rootText1" presStyleLbl="node0" presStyleIdx="0" presStyleCnt="2">
        <dgm:presLayoutVars>
          <dgm:chPref val="3"/>
        </dgm:presLayoutVars>
      </dgm:prSet>
      <dgm:spPr/>
    </dgm:pt>
    <dgm:pt modelId="{9D517596-1682-4542-8FAB-EB8D9B931FD8}" type="pres">
      <dgm:prSet presAssocID="{8FCAE792-4444-4F8A-9CC3-20E4F02199CD}" presName="rootConnector1" presStyleLbl="node1" presStyleIdx="0" presStyleCnt="0"/>
      <dgm:spPr/>
    </dgm:pt>
    <dgm:pt modelId="{0B37D6AA-CB94-40C8-A4DF-54D6A83314EA}" type="pres">
      <dgm:prSet presAssocID="{8FCAE792-4444-4F8A-9CC3-20E4F02199CD}" presName="hierChild2" presStyleCnt="0"/>
      <dgm:spPr/>
    </dgm:pt>
    <dgm:pt modelId="{6DA4FE65-DA4C-49DF-9778-FDAF9B9A1A80}" type="pres">
      <dgm:prSet presAssocID="{020EACD8-62F5-43B8-8135-9D700F1086D7}" presName="Name37" presStyleLbl="parChTrans1D2" presStyleIdx="0" presStyleCnt="4"/>
      <dgm:spPr/>
    </dgm:pt>
    <dgm:pt modelId="{211F7301-10C2-4531-A12C-56ED8AED58BB}" type="pres">
      <dgm:prSet presAssocID="{6C98BCEA-BF84-4AC9-8C7F-CF9C0B2457C1}" presName="hierRoot2" presStyleCnt="0">
        <dgm:presLayoutVars>
          <dgm:hierBranch val="init"/>
        </dgm:presLayoutVars>
      </dgm:prSet>
      <dgm:spPr/>
    </dgm:pt>
    <dgm:pt modelId="{E4AEB463-0963-46AC-B04D-010FADFFD705}" type="pres">
      <dgm:prSet presAssocID="{6C98BCEA-BF84-4AC9-8C7F-CF9C0B2457C1}" presName="rootComposite" presStyleCnt="0"/>
      <dgm:spPr/>
    </dgm:pt>
    <dgm:pt modelId="{8AF8D746-D153-4B5E-A667-7E0020A3D6C3}" type="pres">
      <dgm:prSet presAssocID="{6C98BCEA-BF84-4AC9-8C7F-CF9C0B2457C1}" presName="rootText" presStyleLbl="node2" presStyleIdx="0" presStyleCnt="4" custLinFactNeighborX="-978" custLinFactNeighborY="-925">
        <dgm:presLayoutVars>
          <dgm:chPref val="3"/>
        </dgm:presLayoutVars>
      </dgm:prSet>
      <dgm:spPr/>
    </dgm:pt>
    <dgm:pt modelId="{9EE462CE-06BE-453D-93E7-BAD91DA156FC}" type="pres">
      <dgm:prSet presAssocID="{6C98BCEA-BF84-4AC9-8C7F-CF9C0B2457C1}" presName="rootConnector" presStyleLbl="node2" presStyleIdx="0" presStyleCnt="4"/>
      <dgm:spPr/>
    </dgm:pt>
    <dgm:pt modelId="{8409425C-6A4B-4739-8373-60083A0B392D}" type="pres">
      <dgm:prSet presAssocID="{6C98BCEA-BF84-4AC9-8C7F-CF9C0B2457C1}" presName="hierChild4" presStyleCnt="0"/>
      <dgm:spPr/>
    </dgm:pt>
    <dgm:pt modelId="{7A686D08-B899-4FE4-9198-53B863ABF79F}" type="pres">
      <dgm:prSet presAssocID="{EBC96106-9246-4613-A940-96BEAB92741B}" presName="Name37" presStyleLbl="parChTrans1D3" presStyleIdx="0" presStyleCnt="4"/>
      <dgm:spPr/>
    </dgm:pt>
    <dgm:pt modelId="{A5299FF8-7E1A-4CB0-BF84-F6AA062C873A}" type="pres">
      <dgm:prSet presAssocID="{EDC08F4C-4CF2-45FE-B29B-7FBCA2554165}" presName="hierRoot2" presStyleCnt="0">
        <dgm:presLayoutVars>
          <dgm:hierBranch val="init"/>
        </dgm:presLayoutVars>
      </dgm:prSet>
      <dgm:spPr/>
    </dgm:pt>
    <dgm:pt modelId="{8EA78BA1-AFF0-4515-B806-405BF6E3E671}" type="pres">
      <dgm:prSet presAssocID="{EDC08F4C-4CF2-45FE-B29B-7FBCA2554165}" presName="rootComposite" presStyleCnt="0"/>
      <dgm:spPr/>
    </dgm:pt>
    <dgm:pt modelId="{A8F06774-3ABF-4C96-8128-0A575B426526}" type="pres">
      <dgm:prSet presAssocID="{EDC08F4C-4CF2-45FE-B29B-7FBCA2554165}" presName="rootText" presStyleLbl="node3" presStyleIdx="0" presStyleCnt="4">
        <dgm:presLayoutVars>
          <dgm:chPref val="3"/>
        </dgm:presLayoutVars>
      </dgm:prSet>
      <dgm:spPr/>
    </dgm:pt>
    <dgm:pt modelId="{50164EF7-FB74-4204-8517-C7393B6004CD}" type="pres">
      <dgm:prSet presAssocID="{EDC08F4C-4CF2-45FE-B29B-7FBCA2554165}" presName="rootConnector" presStyleLbl="node3" presStyleIdx="0" presStyleCnt="4"/>
      <dgm:spPr/>
    </dgm:pt>
    <dgm:pt modelId="{966DA4CD-E911-4968-9881-C196D0EAE804}" type="pres">
      <dgm:prSet presAssocID="{EDC08F4C-4CF2-45FE-B29B-7FBCA2554165}" presName="hierChild4" presStyleCnt="0"/>
      <dgm:spPr/>
    </dgm:pt>
    <dgm:pt modelId="{B36C0567-7FB1-4CCA-A367-7F7DBDA91836}" type="pres">
      <dgm:prSet presAssocID="{EDC08F4C-4CF2-45FE-B29B-7FBCA2554165}" presName="hierChild5" presStyleCnt="0"/>
      <dgm:spPr/>
    </dgm:pt>
    <dgm:pt modelId="{EC8932A0-8F2B-4B1A-981A-6ACA06672974}" type="pres">
      <dgm:prSet presAssocID="{6C98BCEA-BF84-4AC9-8C7F-CF9C0B2457C1}" presName="hierChild5" presStyleCnt="0"/>
      <dgm:spPr/>
    </dgm:pt>
    <dgm:pt modelId="{E987E22C-C49B-4CB9-B5F6-03ECD093BCE3}" type="pres">
      <dgm:prSet presAssocID="{B681A08A-E476-4263-9A00-4691C04C1D0D}" presName="Name37" presStyleLbl="parChTrans1D2" presStyleIdx="1" presStyleCnt="4"/>
      <dgm:spPr/>
    </dgm:pt>
    <dgm:pt modelId="{D717C8C1-631D-48F3-B301-B16333B17522}" type="pres">
      <dgm:prSet presAssocID="{A0038882-C60A-4C62-A714-48162B8B50B2}" presName="hierRoot2" presStyleCnt="0">
        <dgm:presLayoutVars>
          <dgm:hierBranch val="init"/>
        </dgm:presLayoutVars>
      </dgm:prSet>
      <dgm:spPr/>
    </dgm:pt>
    <dgm:pt modelId="{1969EA98-E8B2-4A76-9268-CFA4AF1F590A}" type="pres">
      <dgm:prSet presAssocID="{A0038882-C60A-4C62-A714-48162B8B50B2}" presName="rootComposite" presStyleCnt="0"/>
      <dgm:spPr/>
    </dgm:pt>
    <dgm:pt modelId="{AD34E6C8-F7E4-48B6-BDFC-F698DCC6A439}" type="pres">
      <dgm:prSet presAssocID="{A0038882-C60A-4C62-A714-48162B8B50B2}" presName="rootText" presStyleLbl="node2" presStyleIdx="1" presStyleCnt="4">
        <dgm:presLayoutVars>
          <dgm:chPref val="3"/>
        </dgm:presLayoutVars>
      </dgm:prSet>
      <dgm:spPr/>
    </dgm:pt>
    <dgm:pt modelId="{4BCE5511-1A76-4D01-B8F6-4F5B07BB2CA8}" type="pres">
      <dgm:prSet presAssocID="{A0038882-C60A-4C62-A714-48162B8B50B2}" presName="rootConnector" presStyleLbl="node2" presStyleIdx="1" presStyleCnt="4"/>
      <dgm:spPr/>
    </dgm:pt>
    <dgm:pt modelId="{6085E7C6-CD48-4ADA-933C-F75744ABD050}" type="pres">
      <dgm:prSet presAssocID="{A0038882-C60A-4C62-A714-48162B8B50B2}" presName="hierChild4" presStyleCnt="0"/>
      <dgm:spPr/>
    </dgm:pt>
    <dgm:pt modelId="{49AD46B4-FEE7-4576-88C3-4446DC1D17B5}" type="pres">
      <dgm:prSet presAssocID="{C40840FF-0582-4CF2-B0CA-B5A76913C9ED}" presName="Name37" presStyleLbl="parChTrans1D3" presStyleIdx="1" presStyleCnt="4"/>
      <dgm:spPr/>
    </dgm:pt>
    <dgm:pt modelId="{5A8903B8-719B-4806-A3C1-0489EA421171}" type="pres">
      <dgm:prSet presAssocID="{F2F58ACD-BA59-4597-AAF4-C00CBDBEB3B5}" presName="hierRoot2" presStyleCnt="0">
        <dgm:presLayoutVars>
          <dgm:hierBranch val="init"/>
        </dgm:presLayoutVars>
      </dgm:prSet>
      <dgm:spPr/>
    </dgm:pt>
    <dgm:pt modelId="{E7D7BD0F-D421-405A-8701-9F6504A0CFEE}" type="pres">
      <dgm:prSet presAssocID="{F2F58ACD-BA59-4597-AAF4-C00CBDBEB3B5}" presName="rootComposite" presStyleCnt="0"/>
      <dgm:spPr/>
    </dgm:pt>
    <dgm:pt modelId="{99F03290-0B36-4F4E-9671-E5642ACC540C}" type="pres">
      <dgm:prSet presAssocID="{F2F58ACD-BA59-4597-AAF4-C00CBDBEB3B5}" presName="rootText" presStyleLbl="node3" presStyleIdx="1" presStyleCnt="4" custLinFactNeighborX="-3131" custLinFactNeighborY="4408">
        <dgm:presLayoutVars>
          <dgm:chPref val="3"/>
        </dgm:presLayoutVars>
      </dgm:prSet>
      <dgm:spPr/>
    </dgm:pt>
    <dgm:pt modelId="{D32545EC-DD71-4698-809F-42B9BFB23748}" type="pres">
      <dgm:prSet presAssocID="{F2F58ACD-BA59-4597-AAF4-C00CBDBEB3B5}" presName="rootConnector" presStyleLbl="node3" presStyleIdx="1" presStyleCnt="4"/>
      <dgm:spPr/>
    </dgm:pt>
    <dgm:pt modelId="{9D8CAE1D-386A-42C8-96D1-F4E0A443FCC4}" type="pres">
      <dgm:prSet presAssocID="{F2F58ACD-BA59-4597-AAF4-C00CBDBEB3B5}" presName="hierChild4" presStyleCnt="0"/>
      <dgm:spPr/>
    </dgm:pt>
    <dgm:pt modelId="{BA91DF07-18CF-47DC-A99F-9DE599DA6198}" type="pres">
      <dgm:prSet presAssocID="{F2F58ACD-BA59-4597-AAF4-C00CBDBEB3B5}" presName="hierChild5" presStyleCnt="0"/>
      <dgm:spPr/>
    </dgm:pt>
    <dgm:pt modelId="{AE47B0C3-A6DF-43A6-B22C-A9A6D9C1CD16}" type="pres">
      <dgm:prSet presAssocID="{A0038882-C60A-4C62-A714-48162B8B50B2}" presName="hierChild5" presStyleCnt="0"/>
      <dgm:spPr/>
    </dgm:pt>
    <dgm:pt modelId="{B5C94CC0-2CBA-4C47-87F3-76A6D7641C8B}" type="pres">
      <dgm:prSet presAssocID="{29617F3D-9BE4-43C3-AE53-27C1D01DC0DD}" presName="Name37" presStyleLbl="parChTrans1D2" presStyleIdx="2" presStyleCnt="4"/>
      <dgm:spPr/>
    </dgm:pt>
    <dgm:pt modelId="{EB7E0F57-B153-4DFB-8EF8-03945612E194}" type="pres">
      <dgm:prSet presAssocID="{5F6D9254-86DA-4A6A-9C9F-94EE3505D820}" presName="hierRoot2" presStyleCnt="0">
        <dgm:presLayoutVars>
          <dgm:hierBranch val="init"/>
        </dgm:presLayoutVars>
      </dgm:prSet>
      <dgm:spPr/>
    </dgm:pt>
    <dgm:pt modelId="{BDACF24D-5D8D-4DB4-8256-4ACE100E6A2D}" type="pres">
      <dgm:prSet presAssocID="{5F6D9254-86DA-4A6A-9C9F-94EE3505D820}" presName="rootComposite" presStyleCnt="0"/>
      <dgm:spPr/>
    </dgm:pt>
    <dgm:pt modelId="{3F521123-CE16-4FFD-BFD7-A421B98F9099}" type="pres">
      <dgm:prSet presAssocID="{5F6D9254-86DA-4A6A-9C9F-94EE3505D820}" presName="rootText" presStyleLbl="node2" presStyleIdx="2" presStyleCnt="4">
        <dgm:presLayoutVars>
          <dgm:chPref val="3"/>
        </dgm:presLayoutVars>
      </dgm:prSet>
      <dgm:spPr/>
    </dgm:pt>
    <dgm:pt modelId="{6B02E55B-4D38-49C9-A9A3-607F0D3BA24A}" type="pres">
      <dgm:prSet presAssocID="{5F6D9254-86DA-4A6A-9C9F-94EE3505D820}" presName="rootConnector" presStyleLbl="node2" presStyleIdx="2" presStyleCnt="4"/>
      <dgm:spPr/>
    </dgm:pt>
    <dgm:pt modelId="{CF3040A1-EA33-4206-A11C-C8D16EC6C6FC}" type="pres">
      <dgm:prSet presAssocID="{5F6D9254-86DA-4A6A-9C9F-94EE3505D820}" presName="hierChild4" presStyleCnt="0"/>
      <dgm:spPr/>
    </dgm:pt>
    <dgm:pt modelId="{A203F7CA-D0AE-41F9-A5B7-8DC8C9A68590}" type="pres">
      <dgm:prSet presAssocID="{590F9F94-3E45-49E0-B6C2-66164BBA7183}" presName="Name37" presStyleLbl="parChTrans1D3" presStyleIdx="2" presStyleCnt="4"/>
      <dgm:spPr/>
    </dgm:pt>
    <dgm:pt modelId="{CF845C40-E838-4153-BE30-9442DC5FF737}" type="pres">
      <dgm:prSet presAssocID="{87981ABE-56D1-4EC8-87B0-115950B6837B}" presName="hierRoot2" presStyleCnt="0">
        <dgm:presLayoutVars>
          <dgm:hierBranch val="init"/>
        </dgm:presLayoutVars>
      </dgm:prSet>
      <dgm:spPr/>
    </dgm:pt>
    <dgm:pt modelId="{C31A5F01-BBB2-431C-94D3-B690524E99D5}" type="pres">
      <dgm:prSet presAssocID="{87981ABE-56D1-4EC8-87B0-115950B6837B}" presName="rootComposite" presStyleCnt="0"/>
      <dgm:spPr/>
    </dgm:pt>
    <dgm:pt modelId="{69A59E50-E32B-4BFD-9260-0B6F2530763A}" type="pres">
      <dgm:prSet presAssocID="{87981ABE-56D1-4EC8-87B0-115950B6837B}" presName="rootText" presStyleLbl="node3" presStyleIdx="2" presStyleCnt="4" custScaleX="121482" custScaleY="293234" custLinFactNeighborX="-1213" custLinFactNeighborY="115">
        <dgm:presLayoutVars>
          <dgm:chPref val="3"/>
        </dgm:presLayoutVars>
      </dgm:prSet>
      <dgm:spPr/>
    </dgm:pt>
    <dgm:pt modelId="{C6691031-DE32-42D4-98BB-ECD871AA64CD}" type="pres">
      <dgm:prSet presAssocID="{87981ABE-56D1-4EC8-87B0-115950B6837B}" presName="rootConnector" presStyleLbl="node3" presStyleIdx="2" presStyleCnt="4"/>
      <dgm:spPr/>
    </dgm:pt>
    <dgm:pt modelId="{59BCB753-C9F5-4437-80E6-04102E322C02}" type="pres">
      <dgm:prSet presAssocID="{87981ABE-56D1-4EC8-87B0-115950B6837B}" presName="hierChild4" presStyleCnt="0"/>
      <dgm:spPr/>
    </dgm:pt>
    <dgm:pt modelId="{22AB9FCD-FB54-41B4-977E-0ABA42D0A450}" type="pres">
      <dgm:prSet presAssocID="{87981ABE-56D1-4EC8-87B0-115950B6837B}" presName="hierChild5" presStyleCnt="0"/>
      <dgm:spPr/>
    </dgm:pt>
    <dgm:pt modelId="{067EE0FC-3D50-4ED2-9028-B02E3A222809}" type="pres">
      <dgm:prSet presAssocID="{5F6D9254-86DA-4A6A-9C9F-94EE3505D820}" presName="hierChild5" presStyleCnt="0"/>
      <dgm:spPr/>
    </dgm:pt>
    <dgm:pt modelId="{F560E787-2870-4DD1-AFD9-C154212AEC21}" type="pres">
      <dgm:prSet presAssocID="{4E20F31D-BBC5-4A64-9754-14DE1AE5DFF5}" presName="Name37" presStyleLbl="parChTrans1D2" presStyleIdx="3" presStyleCnt="4"/>
      <dgm:spPr/>
    </dgm:pt>
    <dgm:pt modelId="{AA487BDC-74DA-40DA-AFEF-FC99297D9EC2}" type="pres">
      <dgm:prSet presAssocID="{F90757AB-A607-4385-9822-85BD987BE637}" presName="hierRoot2" presStyleCnt="0">
        <dgm:presLayoutVars>
          <dgm:hierBranch val="init"/>
        </dgm:presLayoutVars>
      </dgm:prSet>
      <dgm:spPr/>
    </dgm:pt>
    <dgm:pt modelId="{9C5223E2-710E-4689-BD3E-8DDB0B56E27C}" type="pres">
      <dgm:prSet presAssocID="{F90757AB-A607-4385-9822-85BD987BE637}" presName="rootComposite" presStyleCnt="0"/>
      <dgm:spPr/>
    </dgm:pt>
    <dgm:pt modelId="{B68BAA31-37D6-48E9-9AD5-D87960D1E60F}" type="pres">
      <dgm:prSet presAssocID="{F90757AB-A607-4385-9822-85BD987BE637}" presName="rootText" presStyleLbl="node2" presStyleIdx="3" presStyleCnt="4">
        <dgm:presLayoutVars>
          <dgm:chPref val="3"/>
        </dgm:presLayoutVars>
      </dgm:prSet>
      <dgm:spPr/>
    </dgm:pt>
    <dgm:pt modelId="{FFA3D185-8725-46B1-8D73-E65444895176}" type="pres">
      <dgm:prSet presAssocID="{F90757AB-A607-4385-9822-85BD987BE637}" presName="rootConnector" presStyleLbl="node2" presStyleIdx="3" presStyleCnt="4"/>
      <dgm:spPr/>
    </dgm:pt>
    <dgm:pt modelId="{BAE1EFF3-268D-453A-B58C-9286C0E9AD9F}" type="pres">
      <dgm:prSet presAssocID="{F90757AB-A607-4385-9822-85BD987BE637}" presName="hierChild4" presStyleCnt="0"/>
      <dgm:spPr/>
    </dgm:pt>
    <dgm:pt modelId="{4F9C7847-D2AE-47F0-A6B1-D02695931D24}" type="pres">
      <dgm:prSet presAssocID="{90F94CE1-B302-44CF-9740-3D2B2961B495}" presName="Name37" presStyleLbl="parChTrans1D3" presStyleIdx="3" presStyleCnt="4"/>
      <dgm:spPr/>
    </dgm:pt>
    <dgm:pt modelId="{79371D0A-7688-4ED7-8F02-1687617B27B7}" type="pres">
      <dgm:prSet presAssocID="{29E990F4-C0A3-49D7-AA65-E2E39EC464ED}" presName="hierRoot2" presStyleCnt="0">
        <dgm:presLayoutVars>
          <dgm:hierBranch val="init"/>
        </dgm:presLayoutVars>
      </dgm:prSet>
      <dgm:spPr/>
    </dgm:pt>
    <dgm:pt modelId="{5133A2CF-D699-4A1B-9FB5-A551F587672B}" type="pres">
      <dgm:prSet presAssocID="{29E990F4-C0A3-49D7-AA65-E2E39EC464ED}" presName="rootComposite" presStyleCnt="0"/>
      <dgm:spPr/>
    </dgm:pt>
    <dgm:pt modelId="{CD84DD96-083E-48E4-BB7D-77777F458979}" type="pres">
      <dgm:prSet presAssocID="{29E990F4-C0A3-49D7-AA65-E2E39EC464ED}" presName="rootText" presStyleLbl="node3" presStyleIdx="3" presStyleCnt="4" custLinFactNeighborX="-12820" custLinFactNeighborY="5917">
        <dgm:presLayoutVars>
          <dgm:chPref val="3"/>
        </dgm:presLayoutVars>
      </dgm:prSet>
      <dgm:spPr/>
    </dgm:pt>
    <dgm:pt modelId="{AFFB8C9B-9B9D-4090-BBF4-4799CA054A99}" type="pres">
      <dgm:prSet presAssocID="{29E990F4-C0A3-49D7-AA65-E2E39EC464ED}" presName="rootConnector" presStyleLbl="node3" presStyleIdx="3" presStyleCnt="4"/>
      <dgm:spPr/>
    </dgm:pt>
    <dgm:pt modelId="{43A76F5D-FBEA-4181-B5BD-B228A6E2BEB6}" type="pres">
      <dgm:prSet presAssocID="{29E990F4-C0A3-49D7-AA65-E2E39EC464ED}" presName="hierChild4" presStyleCnt="0"/>
      <dgm:spPr/>
    </dgm:pt>
    <dgm:pt modelId="{8E17F331-1604-450F-BE07-1D6C0AD4340F}" type="pres">
      <dgm:prSet presAssocID="{29E990F4-C0A3-49D7-AA65-E2E39EC464ED}" presName="hierChild5" presStyleCnt="0"/>
      <dgm:spPr/>
    </dgm:pt>
    <dgm:pt modelId="{26ACC659-6704-4282-A981-63721E56A098}" type="pres">
      <dgm:prSet presAssocID="{F90757AB-A607-4385-9822-85BD987BE637}" presName="hierChild5" presStyleCnt="0"/>
      <dgm:spPr/>
    </dgm:pt>
    <dgm:pt modelId="{C968F3D4-4B06-4C04-B236-95508FDCF926}" type="pres">
      <dgm:prSet presAssocID="{8FCAE792-4444-4F8A-9CC3-20E4F02199CD}" presName="hierChild3" presStyleCnt="0"/>
      <dgm:spPr/>
    </dgm:pt>
    <dgm:pt modelId="{2B4D97F0-B933-47DD-85F7-D56006D4342C}" type="pres">
      <dgm:prSet presAssocID="{DCAA639E-428C-4344-9865-E12213DD3BD2}" presName="hierRoot1" presStyleCnt="0">
        <dgm:presLayoutVars>
          <dgm:hierBranch val="init"/>
        </dgm:presLayoutVars>
      </dgm:prSet>
      <dgm:spPr/>
    </dgm:pt>
    <dgm:pt modelId="{4DC0427A-8B87-4356-8A4D-691B3D0939A1}" type="pres">
      <dgm:prSet presAssocID="{DCAA639E-428C-4344-9865-E12213DD3BD2}" presName="rootComposite1" presStyleCnt="0"/>
      <dgm:spPr/>
    </dgm:pt>
    <dgm:pt modelId="{13AE39B5-C5E0-40EE-BF1D-7F86EB2FD11E}" type="pres">
      <dgm:prSet presAssocID="{DCAA639E-428C-4344-9865-E12213DD3BD2}" presName="rootText1" presStyleLbl="node0" presStyleIdx="1" presStyleCnt="2" custScaleY="114658" custLinFactX="-70785" custLinFactY="200000" custLinFactNeighborX="-100000" custLinFactNeighborY="216008">
        <dgm:presLayoutVars>
          <dgm:chPref val="3"/>
        </dgm:presLayoutVars>
      </dgm:prSet>
      <dgm:spPr/>
    </dgm:pt>
    <dgm:pt modelId="{194559BE-B1E3-43E7-A3D2-FF29D5E2017A}" type="pres">
      <dgm:prSet presAssocID="{DCAA639E-428C-4344-9865-E12213DD3BD2}" presName="rootConnector1" presStyleLbl="node1" presStyleIdx="0" presStyleCnt="0"/>
      <dgm:spPr/>
    </dgm:pt>
    <dgm:pt modelId="{74FD6363-D37A-4D28-8F6D-AF9234FC61A4}" type="pres">
      <dgm:prSet presAssocID="{DCAA639E-428C-4344-9865-E12213DD3BD2}" presName="hierChild2" presStyleCnt="0"/>
      <dgm:spPr/>
    </dgm:pt>
    <dgm:pt modelId="{0077A9EF-9AF1-4CAA-8EB0-09B4CFE5E7FA}" type="pres">
      <dgm:prSet presAssocID="{DCAA639E-428C-4344-9865-E12213DD3BD2}" presName="hierChild3" presStyleCnt="0"/>
      <dgm:spPr/>
    </dgm:pt>
  </dgm:ptLst>
  <dgm:cxnLst>
    <dgm:cxn modelId="{39CB5F02-7397-486D-8A9B-342FF3947B0C}" type="presOf" srcId="{87981ABE-56D1-4EC8-87B0-115950B6837B}" destId="{C6691031-DE32-42D4-98BB-ECD871AA64CD}" srcOrd="1" destOrd="0" presId="urn:microsoft.com/office/officeart/2005/8/layout/orgChart1"/>
    <dgm:cxn modelId="{B419A502-05DB-434B-99EE-EF77BF59735D}" type="presOf" srcId="{8FCAE792-4444-4F8A-9CC3-20E4F02199CD}" destId="{9D517596-1682-4542-8FAB-EB8D9B931FD8}" srcOrd="1" destOrd="0" presId="urn:microsoft.com/office/officeart/2005/8/layout/orgChart1"/>
    <dgm:cxn modelId="{871FA304-BB97-41EE-99E5-C24596795477}" type="presOf" srcId="{87981ABE-56D1-4EC8-87B0-115950B6837B}" destId="{69A59E50-E32B-4BFD-9260-0B6F2530763A}" srcOrd="0" destOrd="0" presId="urn:microsoft.com/office/officeart/2005/8/layout/orgChart1"/>
    <dgm:cxn modelId="{53A27906-0B72-429D-BA50-92067512C4EC}" type="presOf" srcId="{DCAA639E-428C-4344-9865-E12213DD3BD2}" destId="{194559BE-B1E3-43E7-A3D2-FF29D5E2017A}" srcOrd="1" destOrd="0" presId="urn:microsoft.com/office/officeart/2005/8/layout/orgChart1"/>
    <dgm:cxn modelId="{1DF47411-6120-44EB-97A1-2BCFA5C75198}" type="presOf" srcId="{5F6D9254-86DA-4A6A-9C9F-94EE3505D820}" destId="{3F521123-CE16-4FFD-BFD7-A421B98F9099}" srcOrd="0" destOrd="0" presId="urn:microsoft.com/office/officeart/2005/8/layout/orgChart1"/>
    <dgm:cxn modelId="{FFFB5013-FA56-418D-96F1-1BE323521975}" type="presOf" srcId="{4E20F31D-BBC5-4A64-9754-14DE1AE5DFF5}" destId="{F560E787-2870-4DD1-AFD9-C154212AEC21}" srcOrd="0" destOrd="0" presId="urn:microsoft.com/office/officeart/2005/8/layout/orgChart1"/>
    <dgm:cxn modelId="{5CFE001D-2ED7-4507-9BAB-DAD6662960EA}" type="presOf" srcId="{F2F58ACD-BA59-4597-AAF4-C00CBDBEB3B5}" destId="{99F03290-0B36-4F4E-9671-E5642ACC540C}" srcOrd="0" destOrd="0" presId="urn:microsoft.com/office/officeart/2005/8/layout/orgChart1"/>
    <dgm:cxn modelId="{1E573B2B-3D28-45A9-93B5-AB13153FDE37}" type="presOf" srcId="{A0038882-C60A-4C62-A714-48162B8B50B2}" destId="{AD34E6C8-F7E4-48B6-BDFC-F698DCC6A439}" srcOrd="0" destOrd="0" presId="urn:microsoft.com/office/officeart/2005/8/layout/orgChart1"/>
    <dgm:cxn modelId="{96B84A30-852B-4302-BB64-FF281ABC8DFB}" type="presOf" srcId="{EDC08F4C-4CF2-45FE-B29B-7FBCA2554165}" destId="{50164EF7-FB74-4204-8517-C7393B6004CD}" srcOrd="1" destOrd="0" presId="urn:microsoft.com/office/officeart/2005/8/layout/orgChart1"/>
    <dgm:cxn modelId="{4C41BD3E-BBE9-4A5C-A16C-D4DB60E8C661}" type="presOf" srcId="{C40840FF-0582-4CF2-B0CA-B5A76913C9ED}" destId="{49AD46B4-FEE7-4576-88C3-4446DC1D17B5}" srcOrd="0" destOrd="0" presId="urn:microsoft.com/office/officeart/2005/8/layout/orgChart1"/>
    <dgm:cxn modelId="{36D4F03E-EBA7-4A5E-B5F3-2AD790850FCE}" type="presOf" srcId="{B681A08A-E476-4263-9A00-4691C04C1D0D}" destId="{E987E22C-C49B-4CB9-B5F6-03ECD093BCE3}" srcOrd="0" destOrd="0" presId="urn:microsoft.com/office/officeart/2005/8/layout/orgChart1"/>
    <dgm:cxn modelId="{F21B933F-0792-415B-B196-AC9F222A5367}" type="presOf" srcId="{EDC08F4C-4CF2-45FE-B29B-7FBCA2554165}" destId="{A8F06774-3ABF-4C96-8128-0A575B426526}" srcOrd="0" destOrd="0" presId="urn:microsoft.com/office/officeart/2005/8/layout/orgChart1"/>
    <dgm:cxn modelId="{97719742-EE43-4713-AF36-8F4792EA60CD}" type="presOf" srcId="{5F6D9254-86DA-4A6A-9C9F-94EE3505D820}" destId="{6B02E55B-4D38-49C9-A9A3-607F0D3BA24A}" srcOrd="1" destOrd="0" presId="urn:microsoft.com/office/officeart/2005/8/layout/orgChart1"/>
    <dgm:cxn modelId="{E26E2A50-3503-4121-AD0C-7AD7BA9FB068}" type="presOf" srcId="{8FCAE792-4444-4F8A-9CC3-20E4F02199CD}" destId="{20212043-6178-40F4-BD51-459C813622E0}" srcOrd="0" destOrd="0" presId="urn:microsoft.com/office/officeart/2005/8/layout/orgChart1"/>
    <dgm:cxn modelId="{4EDBD652-6F48-48DC-BAE4-EA92150368D2}" srcId="{F90757AB-A607-4385-9822-85BD987BE637}" destId="{29E990F4-C0A3-49D7-AA65-E2E39EC464ED}" srcOrd="0" destOrd="0" parTransId="{90F94CE1-B302-44CF-9740-3D2B2961B495}" sibTransId="{B3EA012D-754E-4598-8656-4C105052BD8C}"/>
    <dgm:cxn modelId="{A3796173-84AD-4E52-BA7E-5E9F3E12EEB3}" type="presOf" srcId="{29617F3D-9BE4-43C3-AE53-27C1D01DC0DD}" destId="{B5C94CC0-2CBA-4C47-87F3-76A6D7641C8B}" srcOrd="0" destOrd="0" presId="urn:microsoft.com/office/officeart/2005/8/layout/orgChart1"/>
    <dgm:cxn modelId="{19D83A7D-900F-45A0-A632-636D84EE1126}" srcId="{9C6C0D67-AEDB-4C60-9F3B-7AEA49EDEB8A}" destId="{8FCAE792-4444-4F8A-9CC3-20E4F02199CD}" srcOrd="0" destOrd="0" parTransId="{F2E9ED34-73AC-495B-878D-3B706318B9D3}" sibTransId="{C9C4754C-9B75-4C83-BB55-D5CA09EB2067}"/>
    <dgm:cxn modelId="{39B47886-9C6D-49B8-892E-BFE2FC4D4675}" srcId="{A0038882-C60A-4C62-A714-48162B8B50B2}" destId="{F2F58ACD-BA59-4597-AAF4-C00CBDBEB3B5}" srcOrd="0" destOrd="0" parTransId="{C40840FF-0582-4CF2-B0CA-B5A76913C9ED}" sibTransId="{07A830ED-BB55-4765-A00D-6B2C6B6E5FD1}"/>
    <dgm:cxn modelId="{78B61E8C-3D7E-465F-B24F-5E1CA1894A96}" srcId="{8FCAE792-4444-4F8A-9CC3-20E4F02199CD}" destId="{5F6D9254-86DA-4A6A-9C9F-94EE3505D820}" srcOrd="2" destOrd="0" parTransId="{29617F3D-9BE4-43C3-AE53-27C1D01DC0DD}" sibTransId="{A1DFE743-E5D4-4101-903E-D37A89B2EB50}"/>
    <dgm:cxn modelId="{910BF58D-5889-44B9-8A02-CA930E58259E}" type="presOf" srcId="{EBC96106-9246-4613-A940-96BEAB92741B}" destId="{7A686D08-B899-4FE4-9198-53B863ABF79F}" srcOrd="0" destOrd="0" presId="urn:microsoft.com/office/officeart/2005/8/layout/orgChart1"/>
    <dgm:cxn modelId="{3D29628E-07D1-40D9-A568-2CEAC964AFEA}" srcId="{8FCAE792-4444-4F8A-9CC3-20E4F02199CD}" destId="{A0038882-C60A-4C62-A714-48162B8B50B2}" srcOrd="1" destOrd="0" parTransId="{B681A08A-E476-4263-9A00-4691C04C1D0D}" sibTransId="{99033BCA-F9FD-49A8-8E7C-53E4B8E709D7}"/>
    <dgm:cxn modelId="{33FDD28F-C6CA-4F2A-933F-42DC1896E515}" type="presOf" srcId="{F90757AB-A607-4385-9822-85BD987BE637}" destId="{B68BAA31-37D6-48E9-9AD5-D87960D1E60F}" srcOrd="0" destOrd="0" presId="urn:microsoft.com/office/officeart/2005/8/layout/orgChart1"/>
    <dgm:cxn modelId="{7AC04090-E6BE-4261-9083-545BCC68FB56}" type="presOf" srcId="{A0038882-C60A-4C62-A714-48162B8B50B2}" destId="{4BCE5511-1A76-4D01-B8F6-4F5B07BB2CA8}" srcOrd="1" destOrd="0" presId="urn:microsoft.com/office/officeart/2005/8/layout/orgChart1"/>
    <dgm:cxn modelId="{F88D4695-1169-4C7F-8376-67F56F58A3A3}" type="presOf" srcId="{29E990F4-C0A3-49D7-AA65-E2E39EC464ED}" destId="{CD84DD96-083E-48E4-BB7D-77777F458979}" srcOrd="0" destOrd="0" presId="urn:microsoft.com/office/officeart/2005/8/layout/orgChart1"/>
    <dgm:cxn modelId="{4FF875A2-E1C4-4017-B5EA-A6443195E214}" type="presOf" srcId="{DCAA639E-428C-4344-9865-E12213DD3BD2}" destId="{13AE39B5-C5E0-40EE-BF1D-7F86EB2FD11E}" srcOrd="0" destOrd="0" presId="urn:microsoft.com/office/officeart/2005/8/layout/orgChart1"/>
    <dgm:cxn modelId="{E6FE85A2-476A-45F0-B74C-931722970931}" type="presOf" srcId="{29E990F4-C0A3-49D7-AA65-E2E39EC464ED}" destId="{AFFB8C9B-9B9D-4090-BBF4-4799CA054A99}" srcOrd="1" destOrd="0" presId="urn:microsoft.com/office/officeart/2005/8/layout/orgChart1"/>
    <dgm:cxn modelId="{A13431A8-E404-46D5-ACDC-E1D2533E3A9E}" type="presOf" srcId="{6C98BCEA-BF84-4AC9-8C7F-CF9C0B2457C1}" destId="{8AF8D746-D153-4B5E-A667-7E0020A3D6C3}" srcOrd="0" destOrd="0" presId="urn:microsoft.com/office/officeart/2005/8/layout/orgChart1"/>
    <dgm:cxn modelId="{FCB82DAC-65B6-48A4-9012-FC1A55321A7C}" type="presOf" srcId="{F2F58ACD-BA59-4597-AAF4-C00CBDBEB3B5}" destId="{D32545EC-DD71-4698-809F-42B9BFB23748}" srcOrd="1" destOrd="0" presId="urn:microsoft.com/office/officeart/2005/8/layout/orgChart1"/>
    <dgm:cxn modelId="{275A4CB0-E646-47D1-A9F1-3FA385D1F39B}" type="presOf" srcId="{F90757AB-A607-4385-9822-85BD987BE637}" destId="{FFA3D185-8725-46B1-8D73-E65444895176}" srcOrd="1" destOrd="0" presId="urn:microsoft.com/office/officeart/2005/8/layout/orgChart1"/>
    <dgm:cxn modelId="{A887B3B4-F3CD-4BAD-AA08-0BD70F541A48}" type="presOf" srcId="{6C98BCEA-BF84-4AC9-8C7F-CF9C0B2457C1}" destId="{9EE462CE-06BE-453D-93E7-BAD91DA156FC}" srcOrd="1" destOrd="0" presId="urn:microsoft.com/office/officeart/2005/8/layout/orgChart1"/>
    <dgm:cxn modelId="{92FBFCBC-E114-40B8-9B2F-99E4DE622AFA}" srcId="{8FCAE792-4444-4F8A-9CC3-20E4F02199CD}" destId="{6C98BCEA-BF84-4AC9-8C7F-CF9C0B2457C1}" srcOrd="0" destOrd="0" parTransId="{020EACD8-62F5-43B8-8135-9D700F1086D7}" sibTransId="{7B516EC9-88A3-4EF0-9B18-89CCD4F0A2E9}"/>
    <dgm:cxn modelId="{965FBBBF-BEE4-480E-97AA-ECD496D254D6}" srcId="{9C6C0D67-AEDB-4C60-9F3B-7AEA49EDEB8A}" destId="{DCAA639E-428C-4344-9865-E12213DD3BD2}" srcOrd="1" destOrd="0" parTransId="{BE58E78D-BE18-43FE-8E6A-A878F100BDD6}" sibTransId="{D45AC272-ABB5-43BF-9D1F-DE33C4501261}"/>
    <dgm:cxn modelId="{DDD9A4CD-B910-4AF2-89A7-AD8EF39E5C9D}" type="presOf" srcId="{9C6C0D67-AEDB-4C60-9F3B-7AEA49EDEB8A}" destId="{5810AA02-1DFA-4ED7-90E2-2C54ADAF8A57}" srcOrd="0" destOrd="0" presId="urn:microsoft.com/office/officeart/2005/8/layout/orgChart1"/>
    <dgm:cxn modelId="{0757C5CF-A6ED-4E9E-A880-A8D19689ED1C}" srcId="{8FCAE792-4444-4F8A-9CC3-20E4F02199CD}" destId="{F90757AB-A607-4385-9822-85BD987BE637}" srcOrd="3" destOrd="0" parTransId="{4E20F31D-BBC5-4A64-9754-14DE1AE5DFF5}" sibTransId="{3EFFD6F8-4D5E-482B-BDAA-B42FF69109F0}"/>
    <dgm:cxn modelId="{A9A882DD-EE1A-4DB7-9D53-AB9DDEE38A28}" type="presOf" srcId="{590F9F94-3E45-49E0-B6C2-66164BBA7183}" destId="{A203F7CA-D0AE-41F9-A5B7-8DC8C9A68590}" srcOrd="0" destOrd="0" presId="urn:microsoft.com/office/officeart/2005/8/layout/orgChart1"/>
    <dgm:cxn modelId="{E36B36E3-B4F4-4E63-B393-8BACF31481F8}" srcId="{5F6D9254-86DA-4A6A-9C9F-94EE3505D820}" destId="{87981ABE-56D1-4EC8-87B0-115950B6837B}" srcOrd="0" destOrd="0" parTransId="{590F9F94-3E45-49E0-B6C2-66164BBA7183}" sibTransId="{B61D761F-85CD-432F-BE5F-1A2EFD3CF51A}"/>
    <dgm:cxn modelId="{D8FDEDE9-9B8A-4612-9EE7-BEAC3C87D81E}" type="presOf" srcId="{020EACD8-62F5-43B8-8135-9D700F1086D7}" destId="{6DA4FE65-DA4C-49DF-9778-FDAF9B9A1A80}" srcOrd="0" destOrd="0" presId="urn:microsoft.com/office/officeart/2005/8/layout/orgChart1"/>
    <dgm:cxn modelId="{3F1163EF-5364-4C8E-BB52-5A7B1A3E567D}" srcId="{6C98BCEA-BF84-4AC9-8C7F-CF9C0B2457C1}" destId="{EDC08F4C-4CF2-45FE-B29B-7FBCA2554165}" srcOrd="0" destOrd="0" parTransId="{EBC96106-9246-4613-A940-96BEAB92741B}" sibTransId="{2418D5CA-672D-468A-9D31-47140EBEDF24}"/>
    <dgm:cxn modelId="{49BD43F7-9EBF-4B74-8266-6BCBBB3027E8}" type="presOf" srcId="{90F94CE1-B302-44CF-9740-3D2B2961B495}" destId="{4F9C7847-D2AE-47F0-A6B1-D02695931D24}" srcOrd="0" destOrd="0" presId="urn:microsoft.com/office/officeart/2005/8/layout/orgChart1"/>
    <dgm:cxn modelId="{CE92C282-3D95-41C5-8A60-663785430CE9}" type="presParOf" srcId="{5810AA02-1DFA-4ED7-90E2-2C54ADAF8A57}" destId="{DC56C1D8-8E64-457C-A5A9-5C6C7C802083}" srcOrd="0" destOrd="0" presId="urn:microsoft.com/office/officeart/2005/8/layout/orgChart1"/>
    <dgm:cxn modelId="{170C457C-767C-4D5D-9E68-2CAF32C43138}" type="presParOf" srcId="{DC56C1D8-8E64-457C-A5A9-5C6C7C802083}" destId="{A797B129-4840-4960-8D3C-5492F2F69459}" srcOrd="0" destOrd="0" presId="urn:microsoft.com/office/officeart/2005/8/layout/orgChart1"/>
    <dgm:cxn modelId="{C5485D45-1064-4A38-86C6-5F08357FF564}" type="presParOf" srcId="{A797B129-4840-4960-8D3C-5492F2F69459}" destId="{20212043-6178-40F4-BD51-459C813622E0}" srcOrd="0" destOrd="0" presId="urn:microsoft.com/office/officeart/2005/8/layout/orgChart1"/>
    <dgm:cxn modelId="{2D252767-18A6-4141-9E4A-78D7CF8D9E42}" type="presParOf" srcId="{A797B129-4840-4960-8D3C-5492F2F69459}" destId="{9D517596-1682-4542-8FAB-EB8D9B931FD8}" srcOrd="1" destOrd="0" presId="urn:microsoft.com/office/officeart/2005/8/layout/orgChart1"/>
    <dgm:cxn modelId="{73DD4F39-C703-4374-A734-8962549E66A4}" type="presParOf" srcId="{DC56C1D8-8E64-457C-A5A9-5C6C7C802083}" destId="{0B37D6AA-CB94-40C8-A4DF-54D6A83314EA}" srcOrd="1" destOrd="0" presId="urn:microsoft.com/office/officeart/2005/8/layout/orgChart1"/>
    <dgm:cxn modelId="{53E9F058-5395-4A91-8FA4-8E2251F3304A}" type="presParOf" srcId="{0B37D6AA-CB94-40C8-A4DF-54D6A83314EA}" destId="{6DA4FE65-DA4C-49DF-9778-FDAF9B9A1A80}" srcOrd="0" destOrd="0" presId="urn:microsoft.com/office/officeart/2005/8/layout/orgChart1"/>
    <dgm:cxn modelId="{05BCEC72-57DC-4319-BE93-94F607DF6F25}" type="presParOf" srcId="{0B37D6AA-CB94-40C8-A4DF-54D6A83314EA}" destId="{211F7301-10C2-4531-A12C-56ED8AED58BB}" srcOrd="1" destOrd="0" presId="urn:microsoft.com/office/officeart/2005/8/layout/orgChart1"/>
    <dgm:cxn modelId="{641181AB-F62F-477A-8E27-051A9E1573C3}" type="presParOf" srcId="{211F7301-10C2-4531-A12C-56ED8AED58BB}" destId="{E4AEB463-0963-46AC-B04D-010FADFFD705}" srcOrd="0" destOrd="0" presId="urn:microsoft.com/office/officeart/2005/8/layout/orgChart1"/>
    <dgm:cxn modelId="{6E66FB78-D544-44D6-BB78-A9ACB2804903}" type="presParOf" srcId="{E4AEB463-0963-46AC-B04D-010FADFFD705}" destId="{8AF8D746-D153-4B5E-A667-7E0020A3D6C3}" srcOrd="0" destOrd="0" presId="urn:microsoft.com/office/officeart/2005/8/layout/orgChart1"/>
    <dgm:cxn modelId="{DA86456F-1C06-4247-A7F3-1C48928BBA82}" type="presParOf" srcId="{E4AEB463-0963-46AC-B04D-010FADFFD705}" destId="{9EE462CE-06BE-453D-93E7-BAD91DA156FC}" srcOrd="1" destOrd="0" presId="urn:microsoft.com/office/officeart/2005/8/layout/orgChart1"/>
    <dgm:cxn modelId="{25AA7BD8-CE55-4C5F-81D4-14EA39C64C0D}" type="presParOf" srcId="{211F7301-10C2-4531-A12C-56ED8AED58BB}" destId="{8409425C-6A4B-4739-8373-60083A0B392D}" srcOrd="1" destOrd="0" presId="urn:microsoft.com/office/officeart/2005/8/layout/orgChart1"/>
    <dgm:cxn modelId="{043B2236-81B6-4AAF-A826-44135E311498}" type="presParOf" srcId="{8409425C-6A4B-4739-8373-60083A0B392D}" destId="{7A686D08-B899-4FE4-9198-53B863ABF79F}" srcOrd="0" destOrd="0" presId="urn:microsoft.com/office/officeart/2005/8/layout/orgChart1"/>
    <dgm:cxn modelId="{2CA05745-7FB4-4AA6-8361-3E67856FF71E}" type="presParOf" srcId="{8409425C-6A4B-4739-8373-60083A0B392D}" destId="{A5299FF8-7E1A-4CB0-BF84-F6AA062C873A}" srcOrd="1" destOrd="0" presId="urn:microsoft.com/office/officeart/2005/8/layout/orgChart1"/>
    <dgm:cxn modelId="{79489CE2-16FF-4534-9C6C-0640AD590B52}" type="presParOf" srcId="{A5299FF8-7E1A-4CB0-BF84-F6AA062C873A}" destId="{8EA78BA1-AFF0-4515-B806-405BF6E3E671}" srcOrd="0" destOrd="0" presId="urn:microsoft.com/office/officeart/2005/8/layout/orgChart1"/>
    <dgm:cxn modelId="{85280D28-E341-4F87-BE25-A7E9BB252F2F}" type="presParOf" srcId="{8EA78BA1-AFF0-4515-B806-405BF6E3E671}" destId="{A8F06774-3ABF-4C96-8128-0A575B426526}" srcOrd="0" destOrd="0" presId="urn:microsoft.com/office/officeart/2005/8/layout/orgChart1"/>
    <dgm:cxn modelId="{592734B3-E2C3-40B1-80E5-D337B5EDC27C}" type="presParOf" srcId="{8EA78BA1-AFF0-4515-B806-405BF6E3E671}" destId="{50164EF7-FB74-4204-8517-C7393B6004CD}" srcOrd="1" destOrd="0" presId="urn:microsoft.com/office/officeart/2005/8/layout/orgChart1"/>
    <dgm:cxn modelId="{237D5FF3-0688-4B45-B970-18CA9C027C6E}" type="presParOf" srcId="{A5299FF8-7E1A-4CB0-BF84-F6AA062C873A}" destId="{966DA4CD-E911-4968-9881-C196D0EAE804}" srcOrd="1" destOrd="0" presId="urn:microsoft.com/office/officeart/2005/8/layout/orgChart1"/>
    <dgm:cxn modelId="{918D0C1C-8D46-4381-9409-30D5FD47A2FF}" type="presParOf" srcId="{A5299FF8-7E1A-4CB0-BF84-F6AA062C873A}" destId="{B36C0567-7FB1-4CCA-A367-7F7DBDA91836}" srcOrd="2" destOrd="0" presId="urn:microsoft.com/office/officeart/2005/8/layout/orgChart1"/>
    <dgm:cxn modelId="{32B2E29B-54F1-4493-A14B-38C42A419639}" type="presParOf" srcId="{211F7301-10C2-4531-A12C-56ED8AED58BB}" destId="{EC8932A0-8F2B-4B1A-981A-6ACA06672974}" srcOrd="2" destOrd="0" presId="urn:microsoft.com/office/officeart/2005/8/layout/orgChart1"/>
    <dgm:cxn modelId="{E0734BE9-2313-47D4-9F39-066F0DEB5BCD}" type="presParOf" srcId="{0B37D6AA-CB94-40C8-A4DF-54D6A83314EA}" destId="{E987E22C-C49B-4CB9-B5F6-03ECD093BCE3}" srcOrd="2" destOrd="0" presId="urn:microsoft.com/office/officeart/2005/8/layout/orgChart1"/>
    <dgm:cxn modelId="{23D48935-94D2-4D8F-BD6D-24CACBD3A4BC}" type="presParOf" srcId="{0B37D6AA-CB94-40C8-A4DF-54D6A83314EA}" destId="{D717C8C1-631D-48F3-B301-B16333B17522}" srcOrd="3" destOrd="0" presId="urn:microsoft.com/office/officeart/2005/8/layout/orgChart1"/>
    <dgm:cxn modelId="{675CA42E-1E37-4CE8-B5E6-8A15B3E0FFD1}" type="presParOf" srcId="{D717C8C1-631D-48F3-B301-B16333B17522}" destId="{1969EA98-E8B2-4A76-9268-CFA4AF1F590A}" srcOrd="0" destOrd="0" presId="urn:microsoft.com/office/officeart/2005/8/layout/orgChart1"/>
    <dgm:cxn modelId="{6D4E5054-8D9D-42D9-BB19-2E76FABDC517}" type="presParOf" srcId="{1969EA98-E8B2-4A76-9268-CFA4AF1F590A}" destId="{AD34E6C8-F7E4-48B6-BDFC-F698DCC6A439}" srcOrd="0" destOrd="0" presId="urn:microsoft.com/office/officeart/2005/8/layout/orgChart1"/>
    <dgm:cxn modelId="{0AC0E6E8-91D1-406D-86F1-6C19654E7F5C}" type="presParOf" srcId="{1969EA98-E8B2-4A76-9268-CFA4AF1F590A}" destId="{4BCE5511-1A76-4D01-B8F6-4F5B07BB2CA8}" srcOrd="1" destOrd="0" presId="urn:microsoft.com/office/officeart/2005/8/layout/orgChart1"/>
    <dgm:cxn modelId="{0EBAAA85-72D4-46B3-937F-D4248A032AA3}" type="presParOf" srcId="{D717C8C1-631D-48F3-B301-B16333B17522}" destId="{6085E7C6-CD48-4ADA-933C-F75744ABD050}" srcOrd="1" destOrd="0" presId="urn:microsoft.com/office/officeart/2005/8/layout/orgChart1"/>
    <dgm:cxn modelId="{29F6BFA1-4DD0-4AFE-868F-724647F82056}" type="presParOf" srcId="{6085E7C6-CD48-4ADA-933C-F75744ABD050}" destId="{49AD46B4-FEE7-4576-88C3-4446DC1D17B5}" srcOrd="0" destOrd="0" presId="urn:microsoft.com/office/officeart/2005/8/layout/orgChart1"/>
    <dgm:cxn modelId="{D691A4B1-510E-4BA8-AAEF-445347477CAF}" type="presParOf" srcId="{6085E7C6-CD48-4ADA-933C-F75744ABD050}" destId="{5A8903B8-719B-4806-A3C1-0489EA421171}" srcOrd="1" destOrd="0" presId="urn:microsoft.com/office/officeart/2005/8/layout/orgChart1"/>
    <dgm:cxn modelId="{A4982B53-121A-49F2-AC4B-1D94B0AF9E6E}" type="presParOf" srcId="{5A8903B8-719B-4806-A3C1-0489EA421171}" destId="{E7D7BD0F-D421-405A-8701-9F6504A0CFEE}" srcOrd="0" destOrd="0" presId="urn:microsoft.com/office/officeart/2005/8/layout/orgChart1"/>
    <dgm:cxn modelId="{AE74B707-ECAC-49FE-BFFB-A647D19A6CA3}" type="presParOf" srcId="{E7D7BD0F-D421-405A-8701-9F6504A0CFEE}" destId="{99F03290-0B36-4F4E-9671-E5642ACC540C}" srcOrd="0" destOrd="0" presId="urn:microsoft.com/office/officeart/2005/8/layout/orgChart1"/>
    <dgm:cxn modelId="{FEE22331-C4B3-43E9-9292-F149953203AB}" type="presParOf" srcId="{E7D7BD0F-D421-405A-8701-9F6504A0CFEE}" destId="{D32545EC-DD71-4698-809F-42B9BFB23748}" srcOrd="1" destOrd="0" presId="urn:microsoft.com/office/officeart/2005/8/layout/orgChart1"/>
    <dgm:cxn modelId="{3A289A7F-4A1C-4C15-B397-2E53A8A623F5}" type="presParOf" srcId="{5A8903B8-719B-4806-A3C1-0489EA421171}" destId="{9D8CAE1D-386A-42C8-96D1-F4E0A443FCC4}" srcOrd="1" destOrd="0" presId="urn:microsoft.com/office/officeart/2005/8/layout/orgChart1"/>
    <dgm:cxn modelId="{7BAC6431-4697-49AB-868C-5547C8E69FB8}" type="presParOf" srcId="{5A8903B8-719B-4806-A3C1-0489EA421171}" destId="{BA91DF07-18CF-47DC-A99F-9DE599DA6198}" srcOrd="2" destOrd="0" presId="urn:microsoft.com/office/officeart/2005/8/layout/orgChart1"/>
    <dgm:cxn modelId="{3EB5031A-C486-4AC5-98B0-F92ACBA45F0B}" type="presParOf" srcId="{D717C8C1-631D-48F3-B301-B16333B17522}" destId="{AE47B0C3-A6DF-43A6-B22C-A9A6D9C1CD16}" srcOrd="2" destOrd="0" presId="urn:microsoft.com/office/officeart/2005/8/layout/orgChart1"/>
    <dgm:cxn modelId="{BE92661A-A8B4-40B8-A3E8-70B1C623D107}" type="presParOf" srcId="{0B37D6AA-CB94-40C8-A4DF-54D6A83314EA}" destId="{B5C94CC0-2CBA-4C47-87F3-76A6D7641C8B}" srcOrd="4" destOrd="0" presId="urn:microsoft.com/office/officeart/2005/8/layout/orgChart1"/>
    <dgm:cxn modelId="{C3D7426E-04C9-41AE-92A2-E2370068EF2F}" type="presParOf" srcId="{0B37D6AA-CB94-40C8-A4DF-54D6A83314EA}" destId="{EB7E0F57-B153-4DFB-8EF8-03945612E194}" srcOrd="5" destOrd="0" presId="urn:microsoft.com/office/officeart/2005/8/layout/orgChart1"/>
    <dgm:cxn modelId="{507DF86F-7D4C-4E15-827B-F790E907EBBB}" type="presParOf" srcId="{EB7E0F57-B153-4DFB-8EF8-03945612E194}" destId="{BDACF24D-5D8D-4DB4-8256-4ACE100E6A2D}" srcOrd="0" destOrd="0" presId="urn:microsoft.com/office/officeart/2005/8/layout/orgChart1"/>
    <dgm:cxn modelId="{3BCC5DB1-E58F-4BFD-9488-53773418B4C7}" type="presParOf" srcId="{BDACF24D-5D8D-4DB4-8256-4ACE100E6A2D}" destId="{3F521123-CE16-4FFD-BFD7-A421B98F9099}" srcOrd="0" destOrd="0" presId="urn:microsoft.com/office/officeart/2005/8/layout/orgChart1"/>
    <dgm:cxn modelId="{EBFD1DF6-E708-4443-A57E-A961C16BB996}" type="presParOf" srcId="{BDACF24D-5D8D-4DB4-8256-4ACE100E6A2D}" destId="{6B02E55B-4D38-49C9-A9A3-607F0D3BA24A}" srcOrd="1" destOrd="0" presId="urn:microsoft.com/office/officeart/2005/8/layout/orgChart1"/>
    <dgm:cxn modelId="{A64D88B6-13A5-4235-9CB2-A4B587633160}" type="presParOf" srcId="{EB7E0F57-B153-4DFB-8EF8-03945612E194}" destId="{CF3040A1-EA33-4206-A11C-C8D16EC6C6FC}" srcOrd="1" destOrd="0" presId="urn:microsoft.com/office/officeart/2005/8/layout/orgChart1"/>
    <dgm:cxn modelId="{80440936-BAA4-49D7-B769-4DF0C5A038F1}" type="presParOf" srcId="{CF3040A1-EA33-4206-A11C-C8D16EC6C6FC}" destId="{A203F7CA-D0AE-41F9-A5B7-8DC8C9A68590}" srcOrd="0" destOrd="0" presId="urn:microsoft.com/office/officeart/2005/8/layout/orgChart1"/>
    <dgm:cxn modelId="{67458BAD-3E24-4485-805B-080DA9172B11}" type="presParOf" srcId="{CF3040A1-EA33-4206-A11C-C8D16EC6C6FC}" destId="{CF845C40-E838-4153-BE30-9442DC5FF737}" srcOrd="1" destOrd="0" presId="urn:microsoft.com/office/officeart/2005/8/layout/orgChart1"/>
    <dgm:cxn modelId="{CEE7AC47-C445-4852-95C7-1573856B3811}" type="presParOf" srcId="{CF845C40-E838-4153-BE30-9442DC5FF737}" destId="{C31A5F01-BBB2-431C-94D3-B690524E99D5}" srcOrd="0" destOrd="0" presId="urn:microsoft.com/office/officeart/2005/8/layout/orgChart1"/>
    <dgm:cxn modelId="{5AFB4BD0-A4F7-4EA7-8645-AFAFCB0A75C5}" type="presParOf" srcId="{C31A5F01-BBB2-431C-94D3-B690524E99D5}" destId="{69A59E50-E32B-4BFD-9260-0B6F2530763A}" srcOrd="0" destOrd="0" presId="urn:microsoft.com/office/officeart/2005/8/layout/orgChart1"/>
    <dgm:cxn modelId="{881B6CFB-50A9-45AC-B6FF-0468D6E766DF}" type="presParOf" srcId="{C31A5F01-BBB2-431C-94D3-B690524E99D5}" destId="{C6691031-DE32-42D4-98BB-ECD871AA64CD}" srcOrd="1" destOrd="0" presId="urn:microsoft.com/office/officeart/2005/8/layout/orgChart1"/>
    <dgm:cxn modelId="{585A36E1-F03A-43BD-8705-5852F7BE2B0A}" type="presParOf" srcId="{CF845C40-E838-4153-BE30-9442DC5FF737}" destId="{59BCB753-C9F5-4437-80E6-04102E322C02}" srcOrd="1" destOrd="0" presId="urn:microsoft.com/office/officeart/2005/8/layout/orgChart1"/>
    <dgm:cxn modelId="{4376E721-9CDE-4971-9672-EB6A01E1588B}" type="presParOf" srcId="{CF845C40-E838-4153-BE30-9442DC5FF737}" destId="{22AB9FCD-FB54-41B4-977E-0ABA42D0A450}" srcOrd="2" destOrd="0" presId="urn:microsoft.com/office/officeart/2005/8/layout/orgChart1"/>
    <dgm:cxn modelId="{9CF2AC00-3EF6-4E2F-B880-44883A6BF84A}" type="presParOf" srcId="{EB7E0F57-B153-4DFB-8EF8-03945612E194}" destId="{067EE0FC-3D50-4ED2-9028-B02E3A222809}" srcOrd="2" destOrd="0" presId="urn:microsoft.com/office/officeart/2005/8/layout/orgChart1"/>
    <dgm:cxn modelId="{9D50A31F-9809-4E8F-AD4D-0F482A925013}" type="presParOf" srcId="{0B37D6AA-CB94-40C8-A4DF-54D6A83314EA}" destId="{F560E787-2870-4DD1-AFD9-C154212AEC21}" srcOrd="6" destOrd="0" presId="urn:microsoft.com/office/officeart/2005/8/layout/orgChart1"/>
    <dgm:cxn modelId="{D2639283-A0FF-4D1B-96A3-FA0241065077}" type="presParOf" srcId="{0B37D6AA-CB94-40C8-A4DF-54D6A83314EA}" destId="{AA487BDC-74DA-40DA-AFEF-FC99297D9EC2}" srcOrd="7" destOrd="0" presId="urn:microsoft.com/office/officeart/2005/8/layout/orgChart1"/>
    <dgm:cxn modelId="{B296DF84-CF2C-4408-B35A-20D8991B601E}" type="presParOf" srcId="{AA487BDC-74DA-40DA-AFEF-FC99297D9EC2}" destId="{9C5223E2-710E-4689-BD3E-8DDB0B56E27C}" srcOrd="0" destOrd="0" presId="urn:microsoft.com/office/officeart/2005/8/layout/orgChart1"/>
    <dgm:cxn modelId="{11B5446F-8E37-4B16-8D79-B226AEDBB5DD}" type="presParOf" srcId="{9C5223E2-710E-4689-BD3E-8DDB0B56E27C}" destId="{B68BAA31-37D6-48E9-9AD5-D87960D1E60F}" srcOrd="0" destOrd="0" presId="urn:microsoft.com/office/officeart/2005/8/layout/orgChart1"/>
    <dgm:cxn modelId="{9A4106FB-48FA-4DF4-AFE5-74B61F48F401}" type="presParOf" srcId="{9C5223E2-710E-4689-BD3E-8DDB0B56E27C}" destId="{FFA3D185-8725-46B1-8D73-E65444895176}" srcOrd="1" destOrd="0" presId="urn:microsoft.com/office/officeart/2005/8/layout/orgChart1"/>
    <dgm:cxn modelId="{F855291A-DAD2-4501-BEDB-E79EB9070A27}" type="presParOf" srcId="{AA487BDC-74DA-40DA-AFEF-FC99297D9EC2}" destId="{BAE1EFF3-268D-453A-B58C-9286C0E9AD9F}" srcOrd="1" destOrd="0" presId="urn:microsoft.com/office/officeart/2005/8/layout/orgChart1"/>
    <dgm:cxn modelId="{0113A5FA-37ED-4800-AD82-B6A845A064BA}" type="presParOf" srcId="{BAE1EFF3-268D-453A-B58C-9286C0E9AD9F}" destId="{4F9C7847-D2AE-47F0-A6B1-D02695931D24}" srcOrd="0" destOrd="0" presId="urn:microsoft.com/office/officeart/2005/8/layout/orgChart1"/>
    <dgm:cxn modelId="{537588BA-E9C1-4C7A-96E0-CFA7EC1E1837}" type="presParOf" srcId="{BAE1EFF3-268D-453A-B58C-9286C0E9AD9F}" destId="{79371D0A-7688-4ED7-8F02-1687617B27B7}" srcOrd="1" destOrd="0" presId="urn:microsoft.com/office/officeart/2005/8/layout/orgChart1"/>
    <dgm:cxn modelId="{5C396E81-6F55-4241-A145-F370456149F6}" type="presParOf" srcId="{79371D0A-7688-4ED7-8F02-1687617B27B7}" destId="{5133A2CF-D699-4A1B-9FB5-A551F587672B}" srcOrd="0" destOrd="0" presId="urn:microsoft.com/office/officeart/2005/8/layout/orgChart1"/>
    <dgm:cxn modelId="{7958C740-8D9B-464A-81AF-5A455DDDD4AA}" type="presParOf" srcId="{5133A2CF-D699-4A1B-9FB5-A551F587672B}" destId="{CD84DD96-083E-48E4-BB7D-77777F458979}" srcOrd="0" destOrd="0" presId="urn:microsoft.com/office/officeart/2005/8/layout/orgChart1"/>
    <dgm:cxn modelId="{8B4F06AF-8F32-4EEA-B8E6-E777DE1281CC}" type="presParOf" srcId="{5133A2CF-D699-4A1B-9FB5-A551F587672B}" destId="{AFFB8C9B-9B9D-4090-BBF4-4799CA054A99}" srcOrd="1" destOrd="0" presId="urn:microsoft.com/office/officeart/2005/8/layout/orgChart1"/>
    <dgm:cxn modelId="{042DF510-42A9-4CA5-9A0B-2A157C7288E5}" type="presParOf" srcId="{79371D0A-7688-4ED7-8F02-1687617B27B7}" destId="{43A76F5D-FBEA-4181-B5BD-B228A6E2BEB6}" srcOrd="1" destOrd="0" presId="urn:microsoft.com/office/officeart/2005/8/layout/orgChart1"/>
    <dgm:cxn modelId="{3E306435-0E37-4AAB-961B-A4B1F3682C62}" type="presParOf" srcId="{79371D0A-7688-4ED7-8F02-1687617B27B7}" destId="{8E17F331-1604-450F-BE07-1D6C0AD4340F}" srcOrd="2" destOrd="0" presId="urn:microsoft.com/office/officeart/2005/8/layout/orgChart1"/>
    <dgm:cxn modelId="{CACF2BAD-AF44-46C2-B855-1EBB2C690737}" type="presParOf" srcId="{AA487BDC-74DA-40DA-AFEF-FC99297D9EC2}" destId="{26ACC659-6704-4282-A981-63721E56A098}" srcOrd="2" destOrd="0" presId="urn:microsoft.com/office/officeart/2005/8/layout/orgChart1"/>
    <dgm:cxn modelId="{1B44DFDD-2592-4E30-A682-18169DCF7AA8}" type="presParOf" srcId="{DC56C1D8-8E64-457C-A5A9-5C6C7C802083}" destId="{C968F3D4-4B06-4C04-B236-95508FDCF926}" srcOrd="2" destOrd="0" presId="urn:microsoft.com/office/officeart/2005/8/layout/orgChart1"/>
    <dgm:cxn modelId="{2CCD8823-0628-4294-8955-F62A9BB4F4D9}" type="presParOf" srcId="{5810AA02-1DFA-4ED7-90E2-2C54ADAF8A57}" destId="{2B4D97F0-B933-47DD-85F7-D56006D4342C}" srcOrd="1" destOrd="0" presId="urn:microsoft.com/office/officeart/2005/8/layout/orgChart1"/>
    <dgm:cxn modelId="{506AC9D9-C400-4A19-BAEB-13F274DAD640}" type="presParOf" srcId="{2B4D97F0-B933-47DD-85F7-D56006D4342C}" destId="{4DC0427A-8B87-4356-8A4D-691B3D0939A1}" srcOrd="0" destOrd="0" presId="urn:microsoft.com/office/officeart/2005/8/layout/orgChart1"/>
    <dgm:cxn modelId="{1A39ABDD-5D2B-4D1D-A168-8C61AAECA0D4}" type="presParOf" srcId="{4DC0427A-8B87-4356-8A4D-691B3D0939A1}" destId="{13AE39B5-C5E0-40EE-BF1D-7F86EB2FD11E}" srcOrd="0" destOrd="0" presId="urn:microsoft.com/office/officeart/2005/8/layout/orgChart1"/>
    <dgm:cxn modelId="{983670B0-5802-48A5-9BE0-AC7484FB2623}" type="presParOf" srcId="{4DC0427A-8B87-4356-8A4D-691B3D0939A1}" destId="{194559BE-B1E3-43E7-A3D2-FF29D5E2017A}" srcOrd="1" destOrd="0" presId="urn:microsoft.com/office/officeart/2005/8/layout/orgChart1"/>
    <dgm:cxn modelId="{4F38BFFB-3A7E-4C97-B735-DB92FDCC45AF}" type="presParOf" srcId="{2B4D97F0-B933-47DD-85F7-D56006D4342C}" destId="{74FD6363-D37A-4D28-8F6D-AF9234FC61A4}" srcOrd="1" destOrd="0" presId="urn:microsoft.com/office/officeart/2005/8/layout/orgChart1"/>
    <dgm:cxn modelId="{365A5401-18DD-44E1-9CA3-48C6146DB811}" type="presParOf" srcId="{2B4D97F0-B933-47DD-85F7-D56006D4342C}" destId="{0077A9EF-9AF1-4CAA-8EB0-09B4CFE5E7FA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9C6C0D67-AEDB-4C60-9F3B-7AEA49EDEB8A}" type="doc">
      <dgm:prSet loTypeId="urn:microsoft.com/office/officeart/2005/8/layout/orgChart1" loCatId="hierarchy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C98BCEA-BF84-4AC9-8C7F-CF9C0B2457C1}">
      <dgm:prSet custT="1"/>
      <dgm:spPr/>
      <dgm:t>
        <a:bodyPr/>
        <a:lstStyle/>
        <a:p>
          <a:r>
            <a:rPr lang="en-US" sz="1000" dirty="0"/>
            <a:t>E04 </a:t>
          </a:r>
          <a:r>
            <a:rPr lang="en-US" sz="1000" dirty="0" err="1"/>
            <a:t>Mgr</a:t>
          </a:r>
          <a:r>
            <a:rPr lang="en-US" sz="1000" dirty="0"/>
            <a:t> AMI </a:t>
          </a:r>
        </a:p>
      </dgm:t>
    </dgm:pt>
    <dgm:pt modelId="{7B516EC9-88A3-4EF0-9B18-89CCD4F0A2E9}" type="sibTrans" cxnId="{92FBFCBC-E114-40B8-9B2F-99E4DE622AFA}">
      <dgm:prSet custT="1"/>
      <dgm:spPr/>
      <dgm:t>
        <a:bodyPr/>
        <a:lstStyle/>
        <a:p>
          <a:endParaRPr lang="en-US"/>
        </a:p>
      </dgm:t>
    </dgm:pt>
    <dgm:pt modelId="{020EACD8-62F5-43B8-8135-9D700F1086D7}" type="parTrans" cxnId="{92FBFCBC-E114-40B8-9B2F-99E4DE622AFA}">
      <dgm:prSet/>
      <dgm:spPr/>
      <dgm:t>
        <a:bodyPr/>
        <a:lstStyle/>
        <a:p>
          <a:endParaRPr lang="en-US"/>
        </a:p>
      </dgm:t>
    </dgm:pt>
    <dgm:pt modelId="{8FCAE792-4444-4F8A-9CC3-20E4F02199CD}">
      <dgm:prSet custT="1"/>
      <dgm:spPr/>
      <dgm:t>
        <a:bodyPr/>
        <a:lstStyle/>
        <a:p>
          <a:r>
            <a:rPr lang="en-US" sz="1000" dirty="0"/>
            <a:t>E05 Sr Manager Advanced Grid Ops </a:t>
          </a:r>
        </a:p>
        <a:p>
          <a:r>
            <a:rPr lang="en-US" sz="1000" dirty="0"/>
            <a:t>Glenn Pritchard </a:t>
          </a:r>
        </a:p>
      </dgm:t>
    </dgm:pt>
    <dgm:pt modelId="{C9C4754C-9B75-4C83-BB55-D5CA09EB2067}" type="sibTrans" cxnId="{19D83A7D-900F-45A0-A632-636D84EE1126}">
      <dgm:prSet custT="1"/>
      <dgm:spPr/>
      <dgm:t>
        <a:bodyPr/>
        <a:lstStyle/>
        <a:p>
          <a:endParaRPr lang="en-US"/>
        </a:p>
      </dgm:t>
    </dgm:pt>
    <dgm:pt modelId="{F2E9ED34-73AC-495B-878D-3B706318B9D3}" type="parTrans" cxnId="{19D83A7D-900F-45A0-A632-636D84EE1126}">
      <dgm:prSet/>
      <dgm:spPr/>
      <dgm:t>
        <a:bodyPr/>
        <a:lstStyle/>
        <a:p>
          <a:endParaRPr lang="en-US"/>
        </a:p>
      </dgm:t>
    </dgm:pt>
    <dgm:pt modelId="{1E55B51B-6C2B-4348-9747-54E11D32C10E}">
      <dgm:prSet custT="1"/>
      <dgm:spPr/>
      <dgm:t>
        <a:bodyPr/>
        <a:lstStyle/>
        <a:p>
          <a:r>
            <a:rPr lang="en-US" sz="1000" dirty="0"/>
            <a:t>E04 </a:t>
          </a:r>
          <a:r>
            <a:rPr lang="en-US" sz="1000" dirty="0" err="1"/>
            <a:t>Mgr</a:t>
          </a:r>
          <a:r>
            <a:rPr lang="en-US" sz="1000" dirty="0"/>
            <a:t> </a:t>
          </a:r>
          <a:r>
            <a:rPr lang="en-US" sz="1000" dirty="0" err="1"/>
            <a:t>Dist</a:t>
          </a:r>
          <a:r>
            <a:rPr lang="en-US" sz="1000" dirty="0"/>
            <a:t> Automation </a:t>
          </a:r>
        </a:p>
      </dgm:t>
    </dgm:pt>
    <dgm:pt modelId="{61F910B2-589F-4E21-8C0F-36B3727F8520}" type="parTrans" cxnId="{BE9237AB-30EB-43EF-9225-DF5F24C5D1B8}">
      <dgm:prSet/>
      <dgm:spPr/>
      <dgm:t>
        <a:bodyPr/>
        <a:lstStyle/>
        <a:p>
          <a:endParaRPr lang="en-US"/>
        </a:p>
      </dgm:t>
    </dgm:pt>
    <dgm:pt modelId="{ECADABB7-5D9E-44D5-A75C-901DCD544036}" type="sibTrans" cxnId="{BE9237AB-30EB-43EF-9225-DF5F24C5D1B8}">
      <dgm:prSet custT="1"/>
      <dgm:spPr/>
      <dgm:t>
        <a:bodyPr/>
        <a:lstStyle/>
        <a:p>
          <a:endParaRPr lang="en-US"/>
        </a:p>
      </dgm:t>
    </dgm:pt>
    <dgm:pt modelId="{A0038882-C60A-4C62-A714-48162B8B50B2}">
      <dgm:prSet custT="1"/>
      <dgm:spPr/>
      <dgm:t>
        <a:bodyPr/>
        <a:lstStyle/>
        <a:p>
          <a:r>
            <a:rPr lang="en-US" sz="1000" dirty="0"/>
            <a:t>Quantitative Engineer</a:t>
          </a:r>
        </a:p>
      </dgm:t>
    </dgm:pt>
    <dgm:pt modelId="{B681A08A-E476-4263-9A00-4691C04C1D0D}" type="parTrans" cxnId="{3D29628E-07D1-40D9-A568-2CEAC964AFEA}">
      <dgm:prSet/>
      <dgm:spPr/>
      <dgm:t>
        <a:bodyPr/>
        <a:lstStyle/>
        <a:p>
          <a:endParaRPr lang="en-US"/>
        </a:p>
      </dgm:t>
    </dgm:pt>
    <dgm:pt modelId="{99033BCA-F9FD-49A8-8E7C-53E4B8E709D7}" type="sibTrans" cxnId="{3D29628E-07D1-40D9-A568-2CEAC964AFEA}">
      <dgm:prSet custT="1"/>
      <dgm:spPr/>
      <dgm:t>
        <a:bodyPr/>
        <a:lstStyle/>
        <a:p>
          <a:endParaRPr lang="en-US"/>
        </a:p>
      </dgm:t>
    </dgm:pt>
    <dgm:pt modelId="{EDC08F4C-4CF2-45FE-B29B-7FBCA2554165}">
      <dgm:prSet custT="1"/>
      <dgm:spPr/>
      <dgm:t>
        <a:bodyPr/>
        <a:lstStyle/>
        <a:p>
          <a:r>
            <a:rPr lang="en-US" sz="1000"/>
            <a:t>1 Network Engineer </a:t>
          </a:r>
        </a:p>
        <a:p>
          <a:r>
            <a:rPr lang="en-US" sz="1000"/>
            <a:t>1 AMI Endpoint Engineer </a:t>
          </a:r>
        </a:p>
        <a:p>
          <a:r>
            <a:rPr lang="en-US" sz="1000"/>
            <a:t>1 DA Endpoint engineer </a:t>
          </a:r>
        </a:p>
        <a:p>
          <a:r>
            <a:rPr lang="en-US" sz="1000"/>
            <a:t>1 Sawtooth Engineer </a:t>
          </a:r>
        </a:p>
        <a:p>
          <a:r>
            <a:rPr lang="en-US" sz="1000"/>
            <a:t>1 General Engineer (Meter Standards) </a:t>
          </a:r>
          <a:endParaRPr lang="en-US" sz="1000" dirty="0"/>
        </a:p>
      </dgm:t>
    </dgm:pt>
    <dgm:pt modelId="{EBC96106-9246-4613-A940-96BEAB92741B}" type="parTrans" cxnId="{3F1163EF-5364-4C8E-BB52-5A7B1A3E567D}">
      <dgm:prSet/>
      <dgm:spPr/>
      <dgm:t>
        <a:bodyPr/>
        <a:lstStyle/>
        <a:p>
          <a:endParaRPr lang="en-US"/>
        </a:p>
      </dgm:t>
    </dgm:pt>
    <dgm:pt modelId="{2418D5CA-672D-468A-9D31-47140EBEDF24}" type="sibTrans" cxnId="{3F1163EF-5364-4C8E-BB52-5A7B1A3E567D}">
      <dgm:prSet custT="1"/>
      <dgm:spPr/>
      <dgm:t>
        <a:bodyPr/>
        <a:lstStyle/>
        <a:p>
          <a:pPr algn="ctr"/>
          <a:endParaRPr lang="en-US" sz="800" dirty="0"/>
        </a:p>
      </dgm:t>
    </dgm:pt>
    <dgm:pt modelId="{0790522B-DA9D-45B2-95BC-44201238A60D}">
      <dgm:prSet custT="1"/>
      <dgm:spPr/>
      <dgm:t>
        <a:bodyPr/>
        <a:lstStyle/>
        <a:p>
          <a:r>
            <a:rPr lang="en-US" sz="1000" dirty="0"/>
            <a:t>1 Sup Work Management </a:t>
          </a:r>
        </a:p>
      </dgm:t>
    </dgm:pt>
    <dgm:pt modelId="{255356BF-6E88-4355-8171-D94E718865FC}" type="parTrans" cxnId="{B4C71FAB-943D-4CEE-88E9-870834BC71B3}">
      <dgm:prSet/>
      <dgm:spPr/>
      <dgm:t>
        <a:bodyPr/>
        <a:lstStyle/>
        <a:p>
          <a:endParaRPr lang="en-US"/>
        </a:p>
      </dgm:t>
    </dgm:pt>
    <dgm:pt modelId="{39313909-E3E0-4086-83C0-F109E8056274}" type="sibTrans" cxnId="{B4C71FAB-943D-4CEE-88E9-870834BC71B3}">
      <dgm:prSet custT="1"/>
      <dgm:spPr/>
      <dgm:t>
        <a:bodyPr/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800" kern="1200" dirty="0">
            <a:solidFill>
              <a:srgbClr val="170D67">
                <a:hueOff val="0"/>
                <a:satOff val="0"/>
                <a:lumOff val="0"/>
                <a:alphaOff val="0"/>
              </a:srgbClr>
            </a:solidFill>
            <a:latin typeface="Arial"/>
            <a:ea typeface="+mn-ea"/>
            <a:cs typeface="+mn-cs"/>
          </a:endParaRPr>
        </a:p>
      </dgm:t>
    </dgm:pt>
    <dgm:pt modelId="{9917FE8E-9001-476C-BD5B-8F4AE677A749}">
      <dgm:prSet custT="1"/>
      <dgm:spPr/>
      <dgm:t>
        <a:bodyPr/>
        <a:lstStyle/>
        <a:p>
          <a:r>
            <a:rPr lang="en-US" sz="1000" dirty="0"/>
            <a:t>3 Engineering Tech Specialists</a:t>
          </a:r>
        </a:p>
      </dgm:t>
    </dgm:pt>
    <dgm:pt modelId="{A43F2960-8817-4353-BA59-A70B76583655}" type="parTrans" cxnId="{83B20850-BA71-4625-B28F-0D137D82FE6C}">
      <dgm:prSet/>
      <dgm:spPr/>
      <dgm:t>
        <a:bodyPr/>
        <a:lstStyle/>
        <a:p>
          <a:endParaRPr lang="en-US"/>
        </a:p>
      </dgm:t>
    </dgm:pt>
    <dgm:pt modelId="{CF1DB95F-3EB6-4C14-B4B8-1DDD65D7A9F8}" type="sibTrans" cxnId="{83B20850-BA71-4625-B28F-0D137D82FE6C}">
      <dgm:prSet/>
      <dgm:spPr/>
      <dgm:t>
        <a:bodyPr/>
        <a:lstStyle/>
        <a:p>
          <a:endParaRPr lang="en-US"/>
        </a:p>
      </dgm:t>
    </dgm:pt>
    <dgm:pt modelId="{41867462-EFB3-4879-B06D-CD739F6845C5}">
      <dgm:prSet custT="1"/>
      <dgm:spPr/>
      <dgm:t>
        <a:bodyPr/>
        <a:lstStyle/>
        <a:p>
          <a:r>
            <a:rPr lang="en-US" sz="1000" dirty="0"/>
            <a:t>3 DA Ops Engineers</a:t>
          </a:r>
        </a:p>
        <a:p>
          <a:r>
            <a:rPr lang="en-US" sz="1000" dirty="0"/>
            <a:t>Sr RF Engineering Tech</a:t>
          </a:r>
        </a:p>
      </dgm:t>
    </dgm:pt>
    <dgm:pt modelId="{E1FD55D6-FC3B-42BF-BC1E-AF65D2011002}" type="parTrans" cxnId="{4EB24291-10D7-4918-8914-A1FA29120395}">
      <dgm:prSet/>
      <dgm:spPr/>
      <dgm:t>
        <a:bodyPr/>
        <a:lstStyle/>
        <a:p>
          <a:endParaRPr lang="en-US"/>
        </a:p>
      </dgm:t>
    </dgm:pt>
    <dgm:pt modelId="{AEC783EF-3652-4343-8E3E-F175314B50A5}" type="sibTrans" cxnId="{4EB24291-10D7-4918-8914-A1FA29120395}">
      <dgm:prSet/>
      <dgm:spPr/>
      <dgm:t>
        <a:bodyPr/>
        <a:lstStyle/>
        <a:p>
          <a:endParaRPr lang="en-US"/>
        </a:p>
      </dgm:t>
    </dgm:pt>
    <dgm:pt modelId="{E33B9927-AE1E-41E2-985A-9692655BCC62}">
      <dgm:prSet custT="1"/>
      <dgm:spPr/>
      <dgm:t>
        <a:bodyPr/>
        <a:lstStyle/>
        <a:p>
          <a:r>
            <a:rPr lang="en-US" sz="1000" dirty="0"/>
            <a:t>OT SGP Program (Contractors)</a:t>
          </a:r>
        </a:p>
      </dgm:t>
    </dgm:pt>
    <dgm:pt modelId="{B1C01108-AEC2-4733-ABC9-F9C9CC478016}" type="parTrans" cxnId="{E5C98AA5-907D-4E48-923C-AE0F02A186EB}">
      <dgm:prSet/>
      <dgm:spPr/>
      <dgm:t>
        <a:bodyPr/>
        <a:lstStyle/>
        <a:p>
          <a:endParaRPr lang="en-US"/>
        </a:p>
      </dgm:t>
    </dgm:pt>
    <dgm:pt modelId="{ADDC9C8F-EF20-437F-A19D-A5E79DAF8E8E}" type="sibTrans" cxnId="{E5C98AA5-907D-4E48-923C-AE0F02A186EB}">
      <dgm:prSet/>
      <dgm:spPr/>
      <dgm:t>
        <a:bodyPr/>
        <a:lstStyle/>
        <a:p>
          <a:endParaRPr lang="en-US"/>
        </a:p>
      </dgm:t>
    </dgm:pt>
    <dgm:pt modelId="{5810AA02-1DFA-4ED7-90E2-2C54ADAF8A57}" type="pres">
      <dgm:prSet presAssocID="{9C6C0D67-AEDB-4C60-9F3B-7AEA49EDEB8A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DC56C1D8-8E64-457C-A5A9-5C6C7C802083}" type="pres">
      <dgm:prSet presAssocID="{8FCAE792-4444-4F8A-9CC3-20E4F02199CD}" presName="hierRoot1" presStyleCnt="0">
        <dgm:presLayoutVars>
          <dgm:hierBranch val="init"/>
        </dgm:presLayoutVars>
      </dgm:prSet>
      <dgm:spPr/>
    </dgm:pt>
    <dgm:pt modelId="{A797B129-4840-4960-8D3C-5492F2F69459}" type="pres">
      <dgm:prSet presAssocID="{8FCAE792-4444-4F8A-9CC3-20E4F02199CD}" presName="rootComposite1" presStyleCnt="0"/>
      <dgm:spPr/>
    </dgm:pt>
    <dgm:pt modelId="{20212043-6178-40F4-BD51-459C813622E0}" type="pres">
      <dgm:prSet presAssocID="{8FCAE792-4444-4F8A-9CC3-20E4F02199CD}" presName="rootText1" presStyleLbl="node0" presStyleIdx="0" presStyleCnt="1">
        <dgm:presLayoutVars>
          <dgm:chPref val="3"/>
        </dgm:presLayoutVars>
      </dgm:prSet>
      <dgm:spPr/>
    </dgm:pt>
    <dgm:pt modelId="{9D517596-1682-4542-8FAB-EB8D9B931FD8}" type="pres">
      <dgm:prSet presAssocID="{8FCAE792-4444-4F8A-9CC3-20E4F02199CD}" presName="rootConnector1" presStyleLbl="node1" presStyleIdx="0" presStyleCnt="0"/>
      <dgm:spPr/>
    </dgm:pt>
    <dgm:pt modelId="{0B37D6AA-CB94-40C8-A4DF-54D6A83314EA}" type="pres">
      <dgm:prSet presAssocID="{8FCAE792-4444-4F8A-9CC3-20E4F02199CD}" presName="hierChild2" presStyleCnt="0"/>
      <dgm:spPr/>
    </dgm:pt>
    <dgm:pt modelId="{1B42700D-5158-488D-94B8-7CB0EB38BE79}" type="pres">
      <dgm:prSet presAssocID="{B1C01108-AEC2-4733-ABC9-F9C9CC478016}" presName="Name37" presStyleLbl="parChTrans1D2" presStyleIdx="0" presStyleCnt="4"/>
      <dgm:spPr/>
    </dgm:pt>
    <dgm:pt modelId="{497F61B0-07E1-4FB3-8DC8-A8546B2D5C92}" type="pres">
      <dgm:prSet presAssocID="{E33B9927-AE1E-41E2-985A-9692655BCC62}" presName="hierRoot2" presStyleCnt="0">
        <dgm:presLayoutVars>
          <dgm:hierBranch val="init"/>
        </dgm:presLayoutVars>
      </dgm:prSet>
      <dgm:spPr/>
    </dgm:pt>
    <dgm:pt modelId="{B0DCB2C6-B422-4D3C-BD2F-170C97E94D49}" type="pres">
      <dgm:prSet presAssocID="{E33B9927-AE1E-41E2-985A-9692655BCC62}" presName="rootComposite" presStyleCnt="0"/>
      <dgm:spPr/>
    </dgm:pt>
    <dgm:pt modelId="{A30A3006-D26C-4E59-9A27-A3FCB75889A9}" type="pres">
      <dgm:prSet presAssocID="{E33B9927-AE1E-41E2-985A-9692655BCC62}" presName="rootText" presStyleLbl="node2" presStyleIdx="0" presStyleCnt="4" custLinFactNeighborX="-740" custLinFactNeighborY="1251">
        <dgm:presLayoutVars>
          <dgm:chPref val="3"/>
        </dgm:presLayoutVars>
      </dgm:prSet>
      <dgm:spPr/>
    </dgm:pt>
    <dgm:pt modelId="{55DAAA2A-428A-44D0-A3B4-5880E1779565}" type="pres">
      <dgm:prSet presAssocID="{E33B9927-AE1E-41E2-985A-9692655BCC62}" presName="rootConnector" presStyleLbl="node2" presStyleIdx="0" presStyleCnt="4"/>
      <dgm:spPr/>
    </dgm:pt>
    <dgm:pt modelId="{67956DC6-29FF-49C7-9588-9F46C7287F35}" type="pres">
      <dgm:prSet presAssocID="{E33B9927-AE1E-41E2-985A-9692655BCC62}" presName="hierChild4" presStyleCnt="0"/>
      <dgm:spPr/>
    </dgm:pt>
    <dgm:pt modelId="{ED761E9A-C824-44EE-B54C-D8D34CC37FD9}" type="pres">
      <dgm:prSet presAssocID="{E33B9927-AE1E-41E2-985A-9692655BCC62}" presName="hierChild5" presStyleCnt="0"/>
      <dgm:spPr/>
    </dgm:pt>
    <dgm:pt modelId="{6DA4FE65-DA4C-49DF-9778-FDAF9B9A1A80}" type="pres">
      <dgm:prSet presAssocID="{020EACD8-62F5-43B8-8135-9D700F1086D7}" presName="Name37" presStyleLbl="parChTrans1D2" presStyleIdx="1" presStyleCnt="4"/>
      <dgm:spPr/>
    </dgm:pt>
    <dgm:pt modelId="{211F7301-10C2-4531-A12C-56ED8AED58BB}" type="pres">
      <dgm:prSet presAssocID="{6C98BCEA-BF84-4AC9-8C7F-CF9C0B2457C1}" presName="hierRoot2" presStyleCnt="0">
        <dgm:presLayoutVars>
          <dgm:hierBranch val="init"/>
        </dgm:presLayoutVars>
      </dgm:prSet>
      <dgm:spPr/>
    </dgm:pt>
    <dgm:pt modelId="{E4AEB463-0963-46AC-B04D-010FADFFD705}" type="pres">
      <dgm:prSet presAssocID="{6C98BCEA-BF84-4AC9-8C7F-CF9C0B2457C1}" presName="rootComposite" presStyleCnt="0"/>
      <dgm:spPr/>
    </dgm:pt>
    <dgm:pt modelId="{8AF8D746-D153-4B5E-A667-7E0020A3D6C3}" type="pres">
      <dgm:prSet presAssocID="{6C98BCEA-BF84-4AC9-8C7F-CF9C0B2457C1}" presName="rootText" presStyleLbl="node2" presStyleIdx="1" presStyleCnt="4">
        <dgm:presLayoutVars>
          <dgm:chPref val="3"/>
        </dgm:presLayoutVars>
      </dgm:prSet>
      <dgm:spPr/>
    </dgm:pt>
    <dgm:pt modelId="{9EE462CE-06BE-453D-93E7-BAD91DA156FC}" type="pres">
      <dgm:prSet presAssocID="{6C98BCEA-BF84-4AC9-8C7F-CF9C0B2457C1}" presName="rootConnector" presStyleLbl="node2" presStyleIdx="1" presStyleCnt="4"/>
      <dgm:spPr/>
    </dgm:pt>
    <dgm:pt modelId="{8409425C-6A4B-4739-8373-60083A0B392D}" type="pres">
      <dgm:prSet presAssocID="{6C98BCEA-BF84-4AC9-8C7F-CF9C0B2457C1}" presName="hierChild4" presStyleCnt="0"/>
      <dgm:spPr/>
    </dgm:pt>
    <dgm:pt modelId="{7A686D08-B899-4FE4-9198-53B863ABF79F}" type="pres">
      <dgm:prSet presAssocID="{EBC96106-9246-4613-A940-96BEAB92741B}" presName="Name37" presStyleLbl="parChTrans1D3" presStyleIdx="0" presStyleCnt="3"/>
      <dgm:spPr/>
    </dgm:pt>
    <dgm:pt modelId="{A5299FF8-7E1A-4CB0-BF84-F6AA062C873A}" type="pres">
      <dgm:prSet presAssocID="{EDC08F4C-4CF2-45FE-B29B-7FBCA2554165}" presName="hierRoot2" presStyleCnt="0">
        <dgm:presLayoutVars>
          <dgm:hierBranch val="init"/>
        </dgm:presLayoutVars>
      </dgm:prSet>
      <dgm:spPr/>
    </dgm:pt>
    <dgm:pt modelId="{8EA78BA1-AFF0-4515-B806-405BF6E3E671}" type="pres">
      <dgm:prSet presAssocID="{EDC08F4C-4CF2-45FE-B29B-7FBCA2554165}" presName="rootComposite" presStyleCnt="0"/>
      <dgm:spPr/>
    </dgm:pt>
    <dgm:pt modelId="{A8F06774-3ABF-4C96-8128-0A575B426526}" type="pres">
      <dgm:prSet presAssocID="{EDC08F4C-4CF2-45FE-B29B-7FBCA2554165}" presName="rootText" presStyleLbl="node3" presStyleIdx="0" presStyleCnt="3">
        <dgm:presLayoutVars>
          <dgm:chPref val="3"/>
        </dgm:presLayoutVars>
      </dgm:prSet>
      <dgm:spPr/>
    </dgm:pt>
    <dgm:pt modelId="{50164EF7-FB74-4204-8517-C7393B6004CD}" type="pres">
      <dgm:prSet presAssocID="{EDC08F4C-4CF2-45FE-B29B-7FBCA2554165}" presName="rootConnector" presStyleLbl="node3" presStyleIdx="0" presStyleCnt="3"/>
      <dgm:spPr/>
    </dgm:pt>
    <dgm:pt modelId="{966DA4CD-E911-4968-9881-C196D0EAE804}" type="pres">
      <dgm:prSet presAssocID="{EDC08F4C-4CF2-45FE-B29B-7FBCA2554165}" presName="hierChild4" presStyleCnt="0"/>
      <dgm:spPr/>
    </dgm:pt>
    <dgm:pt modelId="{B36C0567-7FB1-4CCA-A367-7F7DBDA91836}" type="pres">
      <dgm:prSet presAssocID="{EDC08F4C-4CF2-45FE-B29B-7FBCA2554165}" presName="hierChild5" presStyleCnt="0"/>
      <dgm:spPr/>
    </dgm:pt>
    <dgm:pt modelId="{EC8932A0-8F2B-4B1A-981A-6ACA06672974}" type="pres">
      <dgm:prSet presAssocID="{6C98BCEA-BF84-4AC9-8C7F-CF9C0B2457C1}" presName="hierChild5" presStyleCnt="0"/>
      <dgm:spPr/>
    </dgm:pt>
    <dgm:pt modelId="{3022B727-6AAA-4F45-8C50-D968E03D6F7D}" type="pres">
      <dgm:prSet presAssocID="{61F910B2-589F-4E21-8C0F-36B3727F8520}" presName="Name37" presStyleLbl="parChTrans1D2" presStyleIdx="2" presStyleCnt="4"/>
      <dgm:spPr/>
    </dgm:pt>
    <dgm:pt modelId="{374655DC-575B-4B71-AF16-65766E7F4FE2}" type="pres">
      <dgm:prSet presAssocID="{1E55B51B-6C2B-4348-9747-54E11D32C10E}" presName="hierRoot2" presStyleCnt="0">
        <dgm:presLayoutVars>
          <dgm:hierBranch val="init"/>
        </dgm:presLayoutVars>
      </dgm:prSet>
      <dgm:spPr/>
    </dgm:pt>
    <dgm:pt modelId="{90D1E4BF-07F4-4124-88B0-F40D5B5DDEE0}" type="pres">
      <dgm:prSet presAssocID="{1E55B51B-6C2B-4348-9747-54E11D32C10E}" presName="rootComposite" presStyleCnt="0"/>
      <dgm:spPr/>
    </dgm:pt>
    <dgm:pt modelId="{B27C2A8D-5ECB-495C-90D8-47E0569B1FB1}" type="pres">
      <dgm:prSet presAssocID="{1E55B51B-6C2B-4348-9747-54E11D32C10E}" presName="rootText" presStyleLbl="node2" presStyleIdx="2" presStyleCnt="4" custLinFactNeighborX="-1468" custLinFactNeighborY="-734">
        <dgm:presLayoutVars>
          <dgm:chPref val="3"/>
        </dgm:presLayoutVars>
      </dgm:prSet>
      <dgm:spPr/>
    </dgm:pt>
    <dgm:pt modelId="{50408E1C-BCFC-488D-B67C-32E8C14ABB2A}" type="pres">
      <dgm:prSet presAssocID="{1E55B51B-6C2B-4348-9747-54E11D32C10E}" presName="rootConnector" presStyleLbl="node2" presStyleIdx="2" presStyleCnt="4"/>
      <dgm:spPr/>
    </dgm:pt>
    <dgm:pt modelId="{6483AEC2-02F2-4726-ACE8-BF1C1F066ACC}" type="pres">
      <dgm:prSet presAssocID="{1E55B51B-6C2B-4348-9747-54E11D32C10E}" presName="hierChild4" presStyleCnt="0"/>
      <dgm:spPr/>
    </dgm:pt>
    <dgm:pt modelId="{6C815448-A5FC-4EBA-9E8A-43BC61A3E323}" type="pres">
      <dgm:prSet presAssocID="{255356BF-6E88-4355-8171-D94E718865FC}" presName="Name37" presStyleLbl="parChTrans1D3" presStyleIdx="1" presStyleCnt="3"/>
      <dgm:spPr/>
    </dgm:pt>
    <dgm:pt modelId="{16D7EBC5-F3EB-4D0D-85DE-BAE04EA13818}" type="pres">
      <dgm:prSet presAssocID="{0790522B-DA9D-45B2-95BC-44201238A60D}" presName="hierRoot2" presStyleCnt="0">
        <dgm:presLayoutVars>
          <dgm:hierBranch val="init"/>
        </dgm:presLayoutVars>
      </dgm:prSet>
      <dgm:spPr/>
    </dgm:pt>
    <dgm:pt modelId="{53215152-2661-40A3-BD09-3C35CAD5E7C9}" type="pres">
      <dgm:prSet presAssocID="{0790522B-DA9D-45B2-95BC-44201238A60D}" presName="rootComposite" presStyleCnt="0"/>
      <dgm:spPr/>
    </dgm:pt>
    <dgm:pt modelId="{CEDDF391-7842-4340-8E39-24AA95E5135B}" type="pres">
      <dgm:prSet presAssocID="{0790522B-DA9D-45B2-95BC-44201238A60D}" presName="rootText" presStyleLbl="node3" presStyleIdx="1" presStyleCnt="3">
        <dgm:presLayoutVars>
          <dgm:chPref val="3"/>
        </dgm:presLayoutVars>
      </dgm:prSet>
      <dgm:spPr/>
    </dgm:pt>
    <dgm:pt modelId="{4AE0E9F1-CEAB-483A-971F-7A7355666E84}" type="pres">
      <dgm:prSet presAssocID="{0790522B-DA9D-45B2-95BC-44201238A60D}" presName="rootConnector" presStyleLbl="node3" presStyleIdx="1" presStyleCnt="3"/>
      <dgm:spPr/>
    </dgm:pt>
    <dgm:pt modelId="{550817BC-B8B7-4891-9FFF-04B2CC9F66F7}" type="pres">
      <dgm:prSet presAssocID="{0790522B-DA9D-45B2-95BC-44201238A60D}" presName="hierChild4" presStyleCnt="0"/>
      <dgm:spPr/>
    </dgm:pt>
    <dgm:pt modelId="{FAAB9D4D-8C94-46E4-A30A-6DC9318292C2}" type="pres">
      <dgm:prSet presAssocID="{A43F2960-8817-4353-BA59-A70B76583655}" presName="Name37" presStyleLbl="parChTrans1D4" presStyleIdx="0" presStyleCnt="1"/>
      <dgm:spPr/>
    </dgm:pt>
    <dgm:pt modelId="{2DD89D90-DFC0-433D-8DC3-5305B2E250C1}" type="pres">
      <dgm:prSet presAssocID="{9917FE8E-9001-476C-BD5B-8F4AE677A749}" presName="hierRoot2" presStyleCnt="0">
        <dgm:presLayoutVars>
          <dgm:hierBranch val="init"/>
        </dgm:presLayoutVars>
      </dgm:prSet>
      <dgm:spPr/>
    </dgm:pt>
    <dgm:pt modelId="{DF8DCEE1-4122-4915-A54D-0B0CA0FB82A2}" type="pres">
      <dgm:prSet presAssocID="{9917FE8E-9001-476C-BD5B-8F4AE677A749}" presName="rootComposite" presStyleCnt="0"/>
      <dgm:spPr/>
    </dgm:pt>
    <dgm:pt modelId="{E048024D-1BA4-4B4E-A720-84D479DF1853}" type="pres">
      <dgm:prSet presAssocID="{9917FE8E-9001-476C-BD5B-8F4AE677A749}" presName="rootText" presStyleLbl="node4" presStyleIdx="0" presStyleCnt="1">
        <dgm:presLayoutVars>
          <dgm:chPref val="3"/>
        </dgm:presLayoutVars>
      </dgm:prSet>
      <dgm:spPr/>
    </dgm:pt>
    <dgm:pt modelId="{D1BAE353-14B1-409E-8281-DA9921C11F2D}" type="pres">
      <dgm:prSet presAssocID="{9917FE8E-9001-476C-BD5B-8F4AE677A749}" presName="rootConnector" presStyleLbl="node4" presStyleIdx="0" presStyleCnt="1"/>
      <dgm:spPr/>
    </dgm:pt>
    <dgm:pt modelId="{529FF077-65B2-4F2D-B8B3-E0615C7AD63C}" type="pres">
      <dgm:prSet presAssocID="{9917FE8E-9001-476C-BD5B-8F4AE677A749}" presName="hierChild4" presStyleCnt="0"/>
      <dgm:spPr/>
    </dgm:pt>
    <dgm:pt modelId="{BC51BAEB-E760-4F2E-A5CC-10CA83A7AEC5}" type="pres">
      <dgm:prSet presAssocID="{9917FE8E-9001-476C-BD5B-8F4AE677A749}" presName="hierChild5" presStyleCnt="0"/>
      <dgm:spPr/>
    </dgm:pt>
    <dgm:pt modelId="{5C2D7273-AEBC-425B-87EE-D8C1FB1B2658}" type="pres">
      <dgm:prSet presAssocID="{0790522B-DA9D-45B2-95BC-44201238A60D}" presName="hierChild5" presStyleCnt="0"/>
      <dgm:spPr/>
    </dgm:pt>
    <dgm:pt modelId="{F613E3CC-82ED-4B14-A686-62709BD44E0B}" type="pres">
      <dgm:prSet presAssocID="{E1FD55D6-FC3B-42BF-BC1E-AF65D2011002}" presName="Name37" presStyleLbl="parChTrans1D3" presStyleIdx="2" presStyleCnt="3"/>
      <dgm:spPr/>
    </dgm:pt>
    <dgm:pt modelId="{65E874F8-7DEA-40AE-B90E-20867FF29629}" type="pres">
      <dgm:prSet presAssocID="{41867462-EFB3-4879-B06D-CD739F6845C5}" presName="hierRoot2" presStyleCnt="0">
        <dgm:presLayoutVars>
          <dgm:hierBranch val="init"/>
        </dgm:presLayoutVars>
      </dgm:prSet>
      <dgm:spPr/>
    </dgm:pt>
    <dgm:pt modelId="{1A1CD455-EFE1-4ABD-869F-790161D82596}" type="pres">
      <dgm:prSet presAssocID="{41867462-EFB3-4879-B06D-CD739F6845C5}" presName="rootComposite" presStyleCnt="0"/>
      <dgm:spPr/>
    </dgm:pt>
    <dgm:pt modelId="{0237D380-D749-4430-A5C9-CD86C52B8882}" type="pres">
      <dgm:prSet presAssocID="{41867462-EFB3-4879-B06D-CD739F6845C5}" presName="rootText" presStyleLbl="node3" presStyleIdx="2" presStyleCnt="3">
        <dgm:presLayoutVars>
          <dgm:chPref val="3"/>
        </dgm:presLayoutVars>
      </dgm:prSet>
      <dgm:spPr/>
    </dgm:pt>
    <dgm:pt modelId="{AED4B40A-51FF-4A6B-B549-F7F9F5A88E87}" type="pres">
      <dgm:prSet presAssocID="{41867462-EFB3-4879-B06D-CD739F6845C5}" presName="rootConnector" presStyleLbl="node3" presStyleIdx="2" presStyleCnt="3"/>
      <dgm:spPr/>
    </dgm:pt>
    <dgm:pt modelId="{A80E0FD9-0B99-40CE-AC17-BAB2FBD28DB6}" type="pres">
      <dgm:prSet presAssocID="{41867462-EFB3-4879-B06D-CD739F6845C5}" presName="hierChild4" presStyleCnt="0"/>
      <dgm:spPr/>
    </dgm:pt>
    <dgm:pt modelId="{C19A6B00-96D4-446F-9EAF-10395E257677}" type="pres">
      <dgm:prSet presAssocID="{41867462-EFB3-4879-B06D-CD739F6845C5}" presName="hierChild5" presStyleCnt="0"/>
      <dgm:spPr/>
    </dgm:pt>
    <dgm:pt modelId="{59FAEC25-A8FF-42DD-9CE8-1D94C2579834}" type="pres">
      <dgm:prSet presAssocID="{1E55B51B-6C2B-4348-9747-54E11D32C10E}" presName="hierChild5" presStyleCnt="0"/>
      <dgm:spPr/>
    </dgm:pt>
    <dgm:pt modelId="{E987E22C-C49B-4CB9-B5F6-03ECD093BCE3}" type="pres">
      <dgm:prSet presAssocID="{B681A08A-E476-4263-9A00-4691C04C1D0D}" presName="Name37" presStyleLbl="parChTrans1D2" presStyleIdx="3" presStyleCnt="4"/>
      <dgm:spPr/>
    </dgm:pt>
    <dgm:pt modelId="{D717C8C1-631D-48F3-B301-B16333B17522}" type="pres">
      <dgm:prSet presAssocID="{A0038882-C60A-4C62-A714-48162B8B50B2}" presName="hierRoot2" presStyleCnt="0">
        <dgm:presLayoutVars>
          <dgm:hierBranch val="init"/>
        </dgm:presLayoutVars>
      </dgm:prSet>
      <dgm:spPr/>
    </dgm:pt>
    <dgm:pt modelId="{1969EA98-E8B2-4A76-9268-CFA4AF1F590A}" type="pres">
      <dgm:prSet presAssocID="{A0038882-C60A-4C62-A714-48162B8B50B2}" presName="rootComposite" presStyleCnt="0"/>
      <dgm:spPr/>
    </dgm:pt>
    <dgm:pt modelId="{AD34E6C8-F7E4-48B6-BDFC-F698DCC6A439}" type="pres">
      <dgm:prSet presAssocID="{A0038882-C60A-4C62-A714-48162B8B50B2}" presName="rootText" presStyleLbl="node2" presStyleIdx="3" presStyleCnt="4">
        <dgm:presLayoutVars>
          <dgm:chPref val="3"/>
        </dgm:presLayoutVars>
      </dgm:prSet>
      <dgm:spPr/>
    </dgm:pt>
    <dgm:pt modelId="{4BCE5511-1A76-4D01-B8F6-4F5B07BB2CA8}" type="pres">
      <dgm:prSet presAssocID="{A0038882-C60A-4C62-A714-48162B8B50B2}" presName="rootConnector" presStyleLbl="node2" presStyleIdx="3" presStyleCnt="4"/>
      <dgm:spPr/>
    </dgm:pt>
    <dgm:pt modelId="{6085E7C6-CD48-4ADA-933C-F75744ABD050}" type="pres">
      <dgm:prSet presAssocID="{A0038882-C60A-4C62-A714-48162B8B50B2}" presName="hierChild4" presStyleCnt="0"/>
      <dgm:spPr/>
    </dgm:pt>
    <dgm:pt modelId="{AE47B0C3-A6DF-43A6-B22C-A9A6D9C1CD16}" type="pres">
      <dgm:prSet presAssocID="{A0038882-C60A-4C62-A714-48162B8B50B2}" presName="hierChild5" presStyleCnt="0"/>
      <dgm:spPr/>
    </dgm:pt>
    <dgm:pt modelId="{C968F3D4-4B06-4C04-B236-95508FDCF926}" type="pres">
      <dgm:prSet presAssocID="{8FCAE792-4444-4F8A-9CC3-20E4F02199CD}" presName="hierChild3" presStyleCnt="0"/>
      <dgm:spPr/>
    </dgm:pt>
  </dgm:ptLst>
  <dgm:cxnLst>
    <dgm:cxn modelId="{B419A502-05DB-434B-99EE-EF77BF59735D}" type="presOf" srcId="{8FCAE792-4444-4F8A-9CC3-20E4F02199CD}" destId="{9D517596-1682-4542-8FAB-EB8D9B931FD8}" srcOrd="1" destOrd="0" presId="urn:microsoft.com/office/officeart/2005/8/layout/orgChart1"/>
    <dgm:cxn modelId="{42EC970E-92C2-4587-914F-8D79CD8CBBB8}" type="presOf" srcId="{A0038882-C60A-4C62-A714-48162B8B50B2}" destId="{4BCE5511-1A76-4D01-B8F6-4F5B07BB2CA8}" srcOrd="1" destOrd="0" presId="urn:microsoft.com/office/officeart/2005/8/layout/orgChart1"/>
    <dgm:cxn modelId="{4104E214-5759-43B0-B540-5AFEFF663CC5}" type="presOf" srcId="{B681A08A-E476-4263-9A00-4691C04C1D0D}" destId="{E987E22C-C49B-4CB9-B5F6-03ECD093BCE3}" srcOrd="0" destOrd="0" presId="urn:microsoft.com/office/officeart/2005/8/layout/orgChart1"/>
    <dgm:cxn modelId="{22BA2D17-A524-4E7C-85E7-96E6D9F54F6C}" type="presOf" srcId="{0790522B-DA9D-45B2-95BC-44201238A60D}" destId="{CEDDF391-7842-4340-8E39-24AA95E5135B}" srcOrd="0" destOrd="0" presId="urn:microsoft.com/office/officeart/2005/8/layout/orgChart1"/>
    <dgm:cxn modelId="{9DF13519-784F-40AA-AA04-5B64129F6AFE}" type="presOf" srcId="{255356BF-6E88-4355-8171-D94E718865FC}" destId="{6C815448-A5FC-4EBA-9E8A-43BC61A3E323}" srcOrd="0" destOrd="0" presId="urn:microsoft.com/office/officeart/2005/8/layout/orgChart1"/>
    <dgm:cxn modelId="{5E94B425-0C04-4F01-921F-ABF820767BF4}" type="presOf" srcId="{0790522B-DA9D-45B2-95BC-44201238A60D}" destId="{4AE0E9F1-CEAB-483A-971F-7A7355666E84}" srcOrd="1" destOrd="0" presId="urn:microsoft.com/office/officeart/2005/8/layout/orgChart1"/>
    <dgm:cxn modelId="{CFB9B034-4C9C-4CA3-B591-D254ED6BE6A6}" type="presOf" srcId="{1E55B51B-6C2B-4348-9747-54E11D32C10E}" destId="{B27C2A8D-5ECB-495C-90D8-47E0569B1FB1}" srcOrd="0" destOrd="0" presId="urn:microsoft.com/office/officeart/2005/8/layout/orgChart1"/>
    <dgm:cxn modelId="{2E275C40-7548-4B0A-B43C-A17FEACE3CCE}" type="presOf" srcId="{E33B9927-AE1E-41E2-985A-9692655BCC62}" destId="{55DAAA2A-428A-44D0-A3B4-5880E1779565}" srcOrd="1" destOrd="0" presId="urn:microsoft.com/office/officeart/2005/8/layout/orgChart1"/>
    <dgm:cxn modelId="{0FF63D66-E6B1-4114-9EDC-D6A30E92BE3D}" type="presOf" srcId="{41867462-EFB3-4879-B06D-CD739F6845C5}" destId="{0237D380-D749-4430-A5C9-CD86C52B8882}" srcOrd="0" destOrd="0" presId="urn:microsoft.com/office/officeart/2005/8/layout/orgChart1"/>
    <dgm:cxn modelId="{83B20850-BA71-4625-B28F-0D137D82FE6C}" srcId="{0790522B-DA9D-45B2-95BC-44201238A60D}" destId="{9917FE8E-9001-476C-BD5B-8F4AE677A749}" srcOrd="0" destOrd="0" parTransId="{A43F2960-8817-4353-BA59-A70B76583655}" sibTransId="{CF1DB95F-3EB6-4C14-B4B8-1DDD65D7A9F8}"/>
    <dgm:cxn modelId="{E26E2A50-3503-4121-AD0C-7AD7BA9FB068}" type="presOf" srcId="{8FCAE792-4444-4F8A-9CC3-20E4F02199CD}" destId="{20212043-6178-40F4-BD51-459C813622E0}" srcOrd="0" destOrd="0" presId="urn:microsoft.com/office/officeart/2005/8/layout/orgChart1"/>
    <dgm:cxn modelId="{4A175250-FEB1-4FF5-ADD8-87B2B8D1ED37}" type="presOf" srcId="{9917FE8E-9001-476C-BD5B-8F4AE677A749}" destId="{D1BAE353-14B1-409E-8281-DA9921C11F2D}" srcOrd="1" destOrd="0" presId="urn:microsoft.com/office/officeart/2005/8/layout/orgChart1"/>
    <dgm:cxn modelId="{B1527879-A864-447E-955E-1A6304443D05}" type="presOf" srcId="{A43F2960-8817-4353-BA59-A70B76583655}" destId="{FAAB9D4D-8C94-46E4-A30A-6DC9318292C2}" srcOrd="0" destOrd="0" presId="urn:microsoft.com/office/officeart/2005/8/layout/orgChart1"/>
    <dgm:cxn modelId="{19D83A7D-900F-45A0-A632-636D84EE1126}" srcId="{9C6C0D67-AEDB-4C60-9F3B-7AEA49EDEB8A}" destId="{8FCAE792-4444-4F8A-9CC3-20E4F02199CD}" srcOrd="0" destOrd="0" parTransId="{F2E9ED34-73AC-495B-878D-3B706318B9D3}" sibTransId="{C9C4754C-9B75-4C83-BB55-D5CA09EB2067}"/>
    <dgm:cxn modelId="{5F015E84-50AE-44D6-AA08-59CA320784F5}" type="presOf" srcId="{9917FE8E-9001-476C-BD5B-8F4AE677A749}" destId="{E048024D-1BA4-4B4E-A720-84D479DF1853}" srcOrd="0" destOrd="0" presId="urn:microsoft.com/office/officeart/2005/8/layout/orgChart1"/>
    <dgm:cxn modelId="{9582A685-0917-4351-9C33-F693690F93A4}" type="presOf" srcId="{E1FD55D6-FC3B-42BF-BC1E-AF65D2011002}" destId="{F613E3CC-82ED-4B14-A686-62709BD44E0B}" srcOrd="0" destOrd="0" presId="urn:microsoft.com/office/officeart/2005/8/layout/orgChart1"/>
    <dgm:cxn modelId="{3D29628E-07D1-40D9-A568-2CEAC964AFEA}" srcId="{8FCAE792-4444-4F8A-9CC3-20E4F02199CD}" destId="{A0038882-C60A-4C62-A714-48162B8B50B2}" srcOrd="3" destOrd="0" parTransId="{B681A08A-E476-4263-9A00-4691C04C1D0D}" sibTransId="{99033BCA-F9FD-49A8-8E7C-53E4B8E709D7}"/>
    <dgm:cxn modelId="{4EB24291-10D7-4918-8914-A1FA29120395}" srcId="{1E55B51B-6C2B-4348-9747-54E11D32C10E}" destId="{41867462-EFB3-4879-B06D-CD739F6845C5}" srcOrd="1" destOrd="0" parTransId="{E1FD55D6-FC3B-42BF-BC1E-AF65D2011002}" sibTransId="{AEC783EF-3652-4343-8E3E-F175314B50A5}"/>
    <dgm:cxn modelId="{23ED6193-4D96-4A91-B329-01DFC3477780}" type="presOf" srcId="{A0038882-C60A-4C62-A714-48162B8B50B2}" destId="{AD34E6C8-F7E4-48B6-BDFC-F698DCC6A439}" srcOrd="0" destOrd="0" presId="urn:microsoft.com/office/officeart/2005/8/layout/orgChart1"/>
    <dgm:cxn modelId="{72AC0B98-5768-4948-80EE-508323F7C57F}" type="presOf" srcId="{EDC08F4C-4CF2-45FE-B29B-7FBCA2554165}" destId="{50164EF7-FB74-4204-8517-C7393B6004CD}" srcOrd="1" destOrd="0" presId="urn:microsoft.com/office/officeart/2005/8/layout/orgChart1"/>
    <dgm:cxn modelId="{089C04A1-998E-4D93-9231-43714DBBD5A1}" type="presOf" srcId="{6C98BCEA-BF84-4AC9-8C7F-CF9C0B2457C1}" destId="{8AF8D746-D153-4B5E-A667-7E0020A3D6C3}" srcOrd="0" destOrd="0" presId="urn:microsoft.com/office/officeart/2005/8/layout/orgChart1"/>
    <dgm:cxn modelId="{E5C98AA5-907D-4E48-923C-AE0F02A186EB}" srcId="{8FCAE792-4444-4F8A-9CC3-20E4F02199CD}" destId="{E33B9927-AE1E-41E2-985A-9692655BCC62}" srcOrd="0" destOrd="0" parTransId="{B1C01108-AEC2-4733-ABC9-F9C9CC478016}" sibTransId="{ADDC9C8F-EF20-437F-A19D-A5E79DAF8E8E}"/>
    <dgm:cxn modelId="{8424F2AA-D687-4F3A-A7C3-5141A4BCCFA5}" type="presOf" srcId="{020EACD8-62F5-43B8-8135-9D700F1086D7}" destId="{6DA4FE65-DA4C-49DF-9778-FDAF9B9A1A80}" srcOrd="0" destOrd="0" presId="urn:microsoft.com/office/officeart/2005/8/layout/orgChart1"/>
    <dgm:cxn modelId="{B4C71FAB-943D-4CEE-88E9-870834BC71B3}" srcId="{1E55B51B-6C2B-4348-9747-54E11D32C10E}" destId="{0790522B-DA9D-45B2-95BC-44201238A60D}" srcOrd="0" destOrd="0" parTransId="{255356BF-6E88-4355-8171-D94E718865FC}" sibTransId="{39313909-E3E0-4086-83C0-F109E8056274}"/>
    <dgm:cxn modelId="{BE9237AB-30EB-43EF-9225-DF5F24C5D1B8}" srcId="{8FCAE792-4444-4F8A-9CC3-20E4F02199CD}" destId="{1E55B51B-6C2B-4348-9747-54E11D32C10E}" srcOrd="2" destOrd="0" parTransId="{61F910B2-589F-4E21-8C0F-36B3727F8520}" sibTransId="{ECADABB7-5D9E-44D5-A75C-901DCD544036}"/>
    <dgm:cxn modelId="{8BB773AE-BDFF-49A5-BE98-F12E12F6F516}" type="presOf" srcId="{EDC08F4C-4CF2-45FE-B29B-7FBCA2554165}" destId="{A8F06774-3ABF-4C96-8128-0A575B426526}" srcOrd="0" destOrd="0" presId="urn:microsoft.com/office/officeart/2005/8/layout/orgChart1"/>
    <dgm:cxn modelId="{B8BCFBB3-D98E-4939-8B96-5EC363E3D7AC}" type="presOf" srcId="{B1C01108-AEC2-4733-ABC9-F9C9CC478016}" destId="{1B42700D-5158-488D-94B8-7CB0EB38BE79}" srcOrd="0" destOrd="0" presId="urn:microsoft.com/office/officeart/2005/8/layout/orgChart1"/>
    <dgm:cxn modelId="{92FBFCBC-E114-40B8-9B2F-99E4DE622AFA}" srcId="{8FCAE792-4444-4F8A-9CC3-20E4F02199CD}" destId="{6C98BCEA-BF84-4AC9-8C7F-CF9C0B2457C1}" srcOrd="1" destOrd="0" parTransId="{020EACD8-62F5-43B8-8135-9D700F1086D7}" sibTransId="{7B516EC9-88A3-4EF0-9B18-89CCD4F0A2E9}"/>
    <dgm:cxn modelId="{82FD1BC5-AF4F-4508-9778-01B0A5D4944D}" type="presOf" srcId="{EBC96106-9246-4613-A940-96BEAB92741B}" destId="{7A686D08-B899-4FE4-9198-53B863ABF79F}" srcOrd="0" destOrd="0" presId="urn:microsoft.com/office/officeart/2005/8/layout/orgChart1"/>
    <dgm:cxn modelId="{9B9A20C8-574E-4739-9A42-3ED0042D2C75}" type="presOf" srcId="{E33B9927-AE1E-41E2-985A-9692655BCC62}" destId="{A30A3006-D26C-4E59-9A27-A3FCB75889A9}" srcOrd="0" destOrd="0" presId="urn:microsoft.com/office/officeart/2005/8/layout/orgChart1"/>
    <dgm:cxn modelId="{DDD9A4CD-B910-4AF2-89A7-AD8EF39E5C9D}" type="presOf" srcId="{9C6C0D67-AEDB-4C60-9F3B-7AEA49EDEB8A}" destId="{5810AA02-1DFA-4ED7-90E2-2C54ADAF8A57}" srcOrd="0" destOrd="0" presId="urn:microsoft.com/office/officeart/2005/8/layout/orgChart1"/>
    <dgm:cxn modelId="{92937AD6-F75A-4D78-A264-49728C630173}" type="presOf" srcId="{41867462-EFB3-4879-B06D-CD739F6845C5}" destId="{AED4B40A-51FF-4A6B-B549-F7F9F5A88E87}" srcOrd="1" destOrd="0" presId="urn:microsoft.com/office/officeart/2005/8/layout/orgChart1"/>
    <dgm:cxn modelId="{DE9879DF-97FD-4A05-AA21-F697DDB4F384}" type="presOf" srcId="{6C98BCEA-BF84-4AC9-8C7F-CF9C0B2457C1}" destId="{9EE462CE-06BE-453D-93E7-BAD91DA156FC}" srcOrd="1" destOrd="0" presId="urn:microsoft.com/office/officeart/2005/8/layout/orgChart1"/>
    <dgm:cxn modelId="{6E960BE3-BEF2-472A-9254-D522C8804543}" type="presOf" srcId="{1E55B51B-6C2B-4348-9747-54E11D32C10E}" destId="{50408E1C-BCFC-488D-B67C-32E8C14ABB2A}" srcOrd="1" destOrd="0" presId="urn:microsoft.com/office/officeart/2005/8/layout/orgChart1"/>
    <dgm:cxn modelId="{3F1163EF-5364-4C8E-BB52-5A7B1A3E567D}" srcId="{6C98BCEA-BF84-4AC9-8C7F-CF9C0B2457C1}" destId="{EDC08F4C-4CF2-45FE-B29B-7FBCA2554165}" srcOrd="0" destOrd="0" parTransId="{EBC96106-9246-4613-A940-96BEAB92741B}" sibTransId="{2418D5CA-672D-468A-9D31-47140EBEDF24}"/>
    <dgm:cxn modelId="{F48576F5-6FD4-43F0-8D20-6B45F42508CE}" type="presOf" srcId="{61F910B2-589F-4E21-8C0F-36B3727F8520}" destId="{3022B727-6AAA-4F45-8C50-D968E03D6F7D}" srcOrd="0" destOrd="0" presId="urn:microsoft.com/office/officeart/2005/8/layout/orgChart1"/>
    <dgm:cxn modelId="{CE92C282-3D95-41C5-8A60-663785430CE9}" type="presParOf" srcId="{5810AA02-1DFA-4ED7-90E2-2C54ADAF8A57}" destId="{DC56C1D8-8E64-457C-A5A9-5C6C7C802083}" srcOrd="0" destOrd="0" presId="urn:microsoft.com/office/officeart/2005/8/layout/orgChart1"/>
    <dgm:cxn modelId="{170C457C-767C-4D5D-9E68-2CAF32C43138}" type="presParOf" srcId="{DC56C1D8-8E64-457C-A5A9-5C6C7C802083}" destId="{A797B129-4840-4960-8D3C-5492F2F69459}" srcOrd="0" destOrd="0" presId="urn:microsoft.com/office/officeart/2005/8/layout/orgChart1"/>
    <dgm:cxn modelId="{C5485D45-1064-4A38-86C6-5F08357FF564}" type="presParOf" srcId="{A797B129-4840-4960-8D3C-5492F2F69459}" destId="{20212043-6178-40F4-BD51-459C813622E0}" srcOrd="0" destOrd="0" presId="urn:microsoft.com/office/officeart/2005/8/layout/orgChart1"/>
    <dgm:cxn modelId="{2D252767-18A6-4141-9E4A-78D7CF8D9E42}" type="presParOf" srcId="{A797B129-4840-4960-8D3C-5492F2F69459}" destId="{9D517596-1682-4542-8FAB-EB8D9B931FD8}" srcOrd="1" destOrd="0" presId="urn:microsoft.com/office/officeart/2005/8/layout/orgChart1"/>
    <dgm:cxn modelId="{73DD4F39-C703-4374-A734-8962549E66A4}" type="presParOf" srcId="{DC56C1D8-8E64-457C-A5A9-5C6C7C802083}" destId="{0B37D6AA-CB94-40C8-A4DF-54D6A83314EA}" srcOrd="1" destOrd="0" presId="urn:microsoft.com/office/officeart/2005/8/layout/orgChart1"/>
    <dgm:cxn modelId="{CA1D4BFB-BCEB-441C-B9AF-FAD8051891F5}" type="presParOf" srcId="{0B37D6AA-CB94-40C8-A4DF-54D6A83314EA}" destId="{1B42700D-5158-488D-94B8-7CB0EB38BE79}" srcOrd="0" destOrd="0" presId="urn:microsoft.com/office/officeart/2005/8/layout/orgChart1"/>
    <dgm:cxn modelId="{9ACB51FC-0474-46AD-BAD7-888D11D1806F}" type="presParOf" srcId="{0B37D6AA-CB94-40C8-A4DF-54D6A83314EA}" destId="{497F61B0-07E1-4FB3-8DC8-A8546B2D5C92}" srcOrd="1" destOrd="0" presId="urn:microsoft.com/office/officeart/2005/8/layout/orgChart1"/>
    <dgm:cxn modelId="{A6EED102-932F-40DB-A473-8571794455A7}" type="presParOf" srcId="{497F61B0-07E1-4FB3-8DC8-A8546B2D5C92}" destId="{B0DCB2C6-B422-4D3C-BD2F-170C97E94D49}" srcOrd="0" destOrd="0" presId="urn:microsoft.com/office/officeart/2005/8/layout/orgChart1"/>
    <dgm:cxn modelId="{23F49B41-79FE-4851-94B8-1255A61FC1A7}" type="presParOf" srcId="{B0DCB2C6-B422-4D3C-BD2F-170C97E94D49}" destId="{A30A3006-D26C-4E59-9A27-A3FCB75889A9}" srcOrd="0" destOrd="0" presId="urn:microsoft.com/office/officeart/2005/8/layout/orgChart1"/>
    <dgm:cxn modelId="{6602991B-F66F-4DFD-AAA4-3575DB3D6B0E}" type="presParOf" srcId="{B0DCB2C6-B422-4D3C-BD2F-170C97E94D49}" destId="{55DAAA2A-428A-44D0-A3B4-5880E1779565}" srcOrd="1" destOrd="0" presId="urn:microsoft.com/office/officeart/2005/8/layout/orgChart1"/>
    <dgm:cxn modelId="{5CA6EAF9-0A5B-4538-855C-812D4BE3E497}" type="presParOf" srcId="{497F61B0-07E1-4FB3-8DC8-A8546B2D5C92}" destId="{67956DC6-29FF-49C7-9588-9F46C7287F35}" srcOrd="1" destOrd="0" presId="urn:microsoft.com/office/officeart/2005/8/layout/orgChart1"/>
    <dgm:cxn modelId="{6B45E242-6A8B-46E2-826C-052A7AE4003B}" type="presParOf" srcId="{497F61B0-07E1-4FB3-8DC8-A8546B2D5C92}" destId="{ED761E9A-C824-44EE-B54C-D8D34CC37FD9}" srcOrd="2" destOrd="0" presId="urn:microsoft.com/office/officeart/2005/8/layout/orgChart1"/>
    <dgm:cxn modelId="{83CF98DE-8F1B-4D9C-8361-F1BF7BDDBD49}" type="presParOf" srcId="{0B37D6AA-CB94-40C8-A4DF-54D6A83314EA}" destId="{6DA4FE65-DA4C-49DF-9778-FDAF9B9A1A80}" srcOrd="2" destOrd="0" presId="urn:microsoft.com/office/officeart/2005/8/layout/orgChart1"/>
    <dgm:cxn modelId="{4100AEFB-0A81-4C90-A44D-A52BF1ECB15D}" type="presParOf" srcId="{0B37D6AA-CB94-40C8-A4DF-54D6A83314EA}" destId="{211F7301-10C2-4531-A12C-56ED8AED58BB}" srcOrd="3" destOrd="0" presId="urn:microsoft.com/office/officeart/2005/8/layout/orgChart1"/>
    <dgm:cxn modelId="{4120DF1B-EC69-433D-A3A1-55D4D4546C27}" type="presParOf" srcId="{211F7301-10C2-4531-A12C-56ED8AED58BB}" destId="{E4AEB463-0963-46AC-B04D-010FADFFD705}" srcOrd="0" destOrd="0" presId="urn:microsoft.com/office/officeart/2005/8/layout/orgChart1"/>
    <dgm:cxn modelId="{D6350ACF-7A59-4D48-82EF-D030C9AEAD43}" type="presParOf" srcId="{E4AEB463-0963-46AC-B04D-010FADFFD705}" destId="{8AF8D746-D153-4B5E-A667-7E0020A3D6C3}" srcOrd="0" destOrd="0" presId="urn:microsoft.com/office/officeart/2005/8/layout/orgChart1"/>
    <dgm:cxn modelId="{5E13D47D-4CAC-4B4D-A839-5A507AEF7466}" type="presParOf" srcId="{E4AEB463-0963-46AC-B04D-010FADFFD705}" destId="{9EE462CE-06BE-453D-93E7-BAD91DA156FC}" srcOrd="1" destOrd="0" presId="urn:microsoft.com/office/officeart/2005/8/layout/orgChart1"/>
    <dgm:cxn modelId="{A2EF544E-1F9C-4FBC-AFB3-62F74518D395}" type="presParOf" srcId="{211F7301-10C2-4531-A12C-56ED8AED58BB}" destId="{8409425C-6A4B-4739-8373-60083A0B392D}" srcOrd="1" destOrd="0" presId="urn:microsoft.com/office/officeart/2005/8/layout/orgChart1"/>
    <dgm:cxn modelId="{BD86E901-2845-4959-84A0-83DE9C43F8D2}" type="presParOf" srcId="{8409425C-6A4B-4739-8373-60083A0B392D}" destId="{7A686D08-B899-4FE4-9198-53B863ABF79F}" srcOrd="0" destOrd="0" presId="urn:microsoft.com/office/officeart/2005/8/layout/orgChart1"/>
    <dgm:cxn modelId="{2408844C-02B8-433F-9B2F-76EEB788BF5F}" type="presParOf" srcId="{8409425C-6A4B-4739-8373-60083A0B392D}" destId="{A5299FF8-7E1A-4CB0-BF84-F6AA062C873A}" srcOrd="1" destOrd="0" presId="urn:microsoft.com/office/officeart/2005/8/layout/orgChart1"/>
    <dgm:cxn modelId="{937F455F-8313-407A-8643-FAF7F1F4578D}" type="presParOf" srcId="{A5299FF8-7E1A-4CB0-BF84-F6AA062C873A}" destId="{8EA78BA1-AFF0-4515-B806-405BF6E3E671}" srcOrd="0" destOrd="0" presId="urn:microsoft.com/office/officeart/2005/8/layout/orgChart1"/>
    <dgm:cxn modelId="{01F22026-73A1-40B7-BFF8-45257217E766}" type="presParOf" srcId="{8EA78BA1-AFF0-4515-B806-405BF6E3E671}" destId="{A8F06774-3ABF-4C96-8128-0A575B426526}" srcOrd="0" destOrd="0" presId="urn:microsoft.com/office/officeart/2005/8/layout/orgChart1"/>
    <dgm:cxn modelId="{5B420E99-B4AF-41BC-86B6-419D5E4BD857}" type="presParOf" srcId="{8EA78BA1-AFF0-4515-B806-405BF6E3E671}" destId="{50164EF7-FB74-4204-8517-C7393B6004CD}" srcOrd="1" destOrd="0" presId="urn:microsoft.com/office/officeart/2005/8/layout/orgChart1"/>
    <dgm:cxn modelId="{5D9EAD38-C0C6-46DD-9F05-84590A2B85EB}" type="presParOf" srcId="{A5299FF8-7E1A-4CB0-BF84-F6AA062C873A}" destId="{966DA4CD-E911-4968-9881-C196D0EAE804}" srcOrd="1" destOrd="0" presId="urn:microsoft.com/office/officeart/2005/8/layout/orgChart1"/>
    <dgm:cxn modelId="{B5A8DAA2-CECD-4077-8EE6-5CBE78E237F4}" type="presParOf" srcId="{A5299FF8-7E1A-4CB0-BF84-F6AA062C873A}" destId="{B36C0567-7FB1-4CCA-A367-7F7DBDA91836}" srcOrd="2" destOrd="0" presId="urn:microsoft.com/office/officeart/2005/8/layout/orgChart1"/>
    <dgm:cxn modelId="{6D056F3C-D21F-48D3-A319-47E910000898}" type="presParOf" srcId="{211F7301-10C2-4531-A12C-56ED8AED58BB}" destId="{EC8932A0-8F2B-4B1A-981A-6ACA06672974}" srcOrd="2" destOrd="0" presId="urn:microsoft.com/office/officeart/2005/8/layout/orgChart1"/>
    <dgm:cxn modelId="{5355FE41-DF0F-4724-A6FD-ECE4EC937FBB}" type="presParOf" srcId="{0B37D6AA-CB94-40C8-A4DF-54D6A83314EA}" destId="{3022B727-6AAA-4F45-8C50-D968E03D6F7D}" srcOrd="4" destOrd="0" presId="urn:microsoft.com/office/officeart/2005/8/layout/orgChart1"/>
    <dgm:cxn modelId="{F40F9835-2A13-43D3-A43A-7B1FAB918D51}" type="presParOf" srcId="{0B37D6AA-CB94-40C8-A4DF-54D6A83314EA}" destId="{374655DC-575B-4B71-AF16-65766E7F4FE2}" srcOrd="5" destOrd="0" presId="urn:microsoft.com/office/officeart/2005/8/layout/orgChart1"/>
    <dgm:cxn modelId="{80885237-021C-496A-938C-89DC3001638D}" type="presParOf" srcId="{374655DC-575B-4B71-AF16-65766E7F4FE2}" destId="{90D1E4BF-07F4-4124-88B0-F40D5B5DDEE0}" srcOrd="0" destOrd="0" presId="urn:microsoft.com/office/officeart/2005/8/layout/orgChart1"/>
    <dgm:cxn modelId="{22E1E1CE-C86D-4AC9-B46C-68A65724B5F4}" type="presParOf" srcId="{90D1E4BF-07F4-4124-88B0-F40D5B5DDEE0}" destId="{B27C2A8D-5ECB-495C-90D8-47E0569B1FB1}" srcOrd="0" destOrd="0" presId="urn:microsoft.com/office/officeart/2005/8/layout/orgChart1"/>
    <dgm:cxn modelId="{7BAE5414-3077-4769-B675-88414956C5F9}" type="presParOf" srcId="{90D1E4BF-07F4-4124-88B0-F40D5B5DDEE0}" destId="{50408E1C-BCFC-488D-B67C-32E8C14ABB2A}" srcOrd="1" destOrd="0" presId="urn:microsoft.com/office/officeart/2005/8/layout/orgChart1"/>
    <dgm:cxn modelId="{F6D716EE-974A-4A38-AE70-80DDFF3A59AC}" type="presParOf" srcId="{374655DC-575B-4B71-AF16-65766E7F4FE2}" destId="{6483AEC2-02F2-4726-ACE8-BF1C1F066ACC}" srcOrd="1" destOrd="0" presId="urn:microsoft.com/office/officeart/2005/8/layout/orgChart1"/>
    <dgm:cxn modelId="{6BEC8A75-5659-466C-BA8D-2DD23008A08F}" type="presParOf" srcId="{6483AEC2-02F2-4726-ACE8-BF1C1F066ACC}" destId="{6C815448-A5FC-4EBA-9E8A-43BC61A3E323}" srcOrd="0" destOrd="0" presId="urn:microsoft.com/office/officeart/2005/8/layout/orgChart1"/>
    <dgm:cxn modelId="{E4CB6650-5764-4227-9A4B-1BD704229C2A}" type="presParOf" srcId="{6483AEC2-02F2-4726-ACE8-BF1C1F066ACC}" destId="{16D7EBC5-F3EB-4D0D-85DE-BAE04EA13818}" srcOrd="1" destOrd="0" presId="urn:microsoft.com/office/officeart/2005/8/layout/orgChart1"/>
    <dgm:cxn modelId="{A9B0FF98-45F1-4B1F-BB6C-72D318E11C29}" type="presParOf" srcId="{16D7EBC5-F3EB-4D0D-85DE-BAE04EA13818}" destId="{53215152-2661-40A3-BD09-3C35CAD5E7C9}" srcOrd="0" destOrd="0" presId="urn:microsoft.com/office/officeart/2005/8/layout/orgChart1"/>
    <dgm:cxn modelId="{8F391F0C-A96A-49EA-B3C5-9E9F707EB846}" type="presParOf" srcId="{53215152-2661-40A3-BD09-3C35CAD5E7C9}" destId="{CEDDF391-7842-4340-8E39-24AA95E5135B}" srcOrd="0" destOrd="0" presId="urn:microsoft.com/office/officeart/2005/8/layout/orgChart1"/>
    <dgm:cxn modelId="{81AE92E5-743C-4747-B4CB-0E6649F7F646}" type="presParOf" srcId="{53215152-2661-40A3-BD09-3C35CAD5E7C9}" destId="{4AE0E9F1-CEAB-483A-971F-7A7355666E84}" srcOrd="1" destOrd="0" presId="urn:microsoft.com/office/officeart/2005/8/layout/orgChart1"/>
    <dgm:cxn modelId="{F35892BA-EDF3-41EA-8A8F-6DAFE1903B0D}" type="presParOf" srcId="{16D7EBC5-F3EB-4D0D-85DE-BAE04EA13818}" destId="{550817BC-B8B7-4891-9FFF-04B2CC9F66F7}" srcOrd="1" destOrd="0" presId="urn:microsoft.com/office/officeart/2005/8/layout/orgChart1"/>
    <dgm:cxn modelId="{B52175B7-C3AA-4E4C-9FC6-8785994A0DFB}" type="presParOf" srcId="{550817BC-B8B7-4891-9FFF-04B2CC9F66F7}" destId="{FAAB9D4D-8C94-46E4-A30A-6DC9318292C2}" srcOrd="0" destOrd="0" presId="urn:microsoft.com/office/officeart/2005/8/layout/orgChart1"/>
    <dgm:cxn modelId="{4C0EA252-927A-4D86-8D4B-F44CAF3D13DE}" type="presParOf" srcId="{550817BC-B8B7-4891-9FFF-04B2CC9F66F7}" destId="{2DD89D90-DFC0-433D-8DC3-5305B2E250C1}" srcOrd="1" destOrd="0" presId="urn:microsoft.com/office/officeart/2005/8/layout/orgChart1"/>
    <dgm:cxn modelId="{8D628AD5-D254-4F32-955A-BB494A6949A5}" type="presParOf" srcId="{2DD89D90-DFC0-433D-8DC3-5305B2E250C1}" destId="{DF8DCEE1-4122-4915-A54D-0B0CA0FB82A2}" srcOrd="0" destOrd="0" presId="urn:microsoft.com/office/officeart/2005/8/layout/orgChart1"/>
    <dgm:cxn modelId="{1B222437-4F9C-4F10-9734-B18FB6B33FD0}" type="presParOf" srcId="{DF8DCEE1-4122-4915-A54D-0B0CA0FB82A2}" destId="{E048024D-1BA4-4B4E-A720-84D479DF1853}" srcOrd="0" destOrd="0" presId="urn:microsoft.com/office/officeart/2005/8/layout/orgChart1"/>
    <dgm:cxn modelId="{B988AA92-FF02-4251-92F3-7F8CBC21AEB7}" type="presParOf" srcId="{DF8DCEE1-4122-4915-A54D-0B0CA0FB82A2}" destId="{D1BAE353-14B1-409E-8281-DA9921C11F2D}" srcOrd="1" destOrd="0" presId="urn:microsoft.com/office/officeart/2005/8/layout/orgChart1"/>
    <dgm:cxn modelId="{D2BFBACC-F17B-4B11-9822-2E206CC996C9}" type="presParOf" srcId="{2DD89D90-DFC0-433D-8DC3-5305B2E250C1}" destId="{529FF077-65B2-4F2D-B8B3-E0615C7AD63C}" srcOrd="1" destOrd="0" presId="urn:microsoft.com/office/officeart/2005/8/layout/orgChart1"/>
    <dgm:cxn modelId="{53DEA1D4-A52D-469C-BC59-5486B894053B}" type="presParOf" srcId="{2DD89D90-DFC0-433D-8DC3-5305B2E250C1}" destId="{BC51BAEB-E760-4F2E-A5CC-10CA83A7AEC5}" srcOrd="2" destOrd="0" presId="urn:microsoft.com/office/officeart/2005/8/layout/orgChart1"/>
    <dgm:cxn modelId="{55A4F7E0-A4E3-4A9A-B368-EFEEEFDEAE59}" type="presParOf" srcId="{16D7EBC5-F3EB-4D0D-85DE-BAE04EA13818}" destId="{5C2D7273-AEBC-425B-87EE-D8C1FB1B2658}" srcOrd="2" destOrd="0" presId="urn:microsoft.com/office/officeart/2005/8/layout/orgChart1"/>
    <dgm:cxn modelId="{3FD8BA39-B050-470E-8770-F9CD6535D6E8}" type="presParOf" srcId="{6483AEC2-02F2-4726-ACE8-BF1C1F066ACC}" destId="{F613E3CC-82ED-4B14-A686-62709BD44E0B}" srcOrd="2" destOrd="0" presId="urn:microsoft.com/office/officeart/2005/8/layout/orgChart1"/>
    <dgm:cxn modelId="{68DEFB45-5323-4A9A-A922-B1C403162BB9}" type="presParOf" srcId="{6483AEC2-02F2-4726-ACE8-BF1C1F066ACC}" destId="{65E874F8-7DEA-40AE-B90E-20867FF29629}" srcOrd="3" destOrd="0" presId="urn:microsoft.com/office/officeart/2005/8/layout/orgChart1"/>
    <dgm:cxn modelId="{4B682E95-0155-4144-A9FF-A063EE76825A}" type="presParOf" srcId="{65E874F8-7DEA-40AE-B90E-20867FF29629}" destId="{1A1CD455-EFE1-4ABD-869F-790161D82596}" srcOrd="0" destOrd="0" presId="urn:microsoft.com/office/officeart/2005/8/layout/orgChart1"/>
    <dgm:cxn modelId="{03144D75-CBA3-422F-9EFB-37485179EF11}" type="presParOf" srcId="{1A1CD455-EFE1-4ABD-869F-790161D82596}" destId="{0237D380-D749-4430-A5C9-CD86C52B8882}" srcOrd="0" destOrd="0" presId="urn:microsoft.com/office/officeart/2005/8/layout/orgChart1"/>
    <dgm:cxn modelId="{75809097-777C-4CAD-B37C-3BE95B0E55F2}" type="presParOf" srcId="{1A1CD455-EFE1-4ABD-869F-790161D82596}" destId="{AED4B40A-51FF-4A6B-B549-F7F9F5A88E87}" srcOrd="1" destOrd="0" presId="urn:microsoft.com/office/officeart/2005/8/layout/orgChart1"/>
    <dgm:cxn modelId="{C294F775-5790-44F2-BBC6-5767209BFEE8}" type="presParOf" srcId="{65E874F8-7DEA-40AE-B90E-20867FF29629}" destId="{A80E0FD9-0B99-40CE-AC17-BAB2FBD28DB6}" srcOrd="1" destOrd="0" presId="urn:microsoft.com/office/officeart/2005/8/layout/orgChart1"/>
    <dgm:cxn modelId="{C9D9864C-AF2F-439D-A48A-3B32CF024C9B}" type="presParOf" srcId="{65E874F8-7DEA-40AE-B90E-20867FF29629}" destId="{C19A6B00-96D4-446F-9EAF-10395E257677}" srcOrd="2" destOrd="0" presId="urn:microsoft.com/office/officeart/2005/8/layout/orgChart1"/>
    <dgm:cxn modelId="{B67272BB-CD18-473A-B5DA-25980287E61D}" type="presParOf" srcId="{374655DC-575B-4B71-AF16-65766E7F4FE2}" destId="{59FAEC25-A8FF-42DD-9CE8-1D94C2579834}" srcOrd="2" destOrd="0" presId="urn:microsoft.com/office/officeart/2005/8/layout/orgChart1"/>
    <dgm:cxn modelId="{60C6EA06-E2AA-4DDF-BACE-8753E617F9F6}" type="presParOf" srcId="{0B37D6AA-CB94-40C8-A4DF-54D6A83314EA}" destId="{E987E22C-C49B-4CB9-B5F6-03ECD093BCE3}" srcOrd="6" destOrd="0" presId="urn:microsoft.com/office/officeart/2005/8/layout/orgChart1"/>
    <dgm:cxn modelId="{90FC51DB-B045-4D32-83EA-CE3B73067C75}" type="presParOf" srcId="{0B37D6AA-CB94-40C8-A4DF-54D6A83314EA}" destId="{D717C8C1-631D-48F3-B301-B16333B17522}" srcOrd="7" destOrd="0" presId="urn:microsoft.com/office/officeart/2005/8/layout/orgChart1"/>
    <dgm:cxn modelId="{CFBC5ABC-F629-4D3F-875B-7AB151ABDB72}" type="presParOf" srcId="{D717C8C1-631D-48F3-B301-B16333B17522}" destId="{1969EA98-E8B2-4A76-9268-CFA4AF1F590A}" srcOrd="0" destOrd="0" presId="urn:microsoft.com/office/officeart/2005/8/layout/orgChart1"/>
    <dgm:cxn modelId="{AEAC0FDD-0E6C-442F-B4B1-D3A8681536DC}" type="presParOf" srcId="{1969EA98-E8B2-4A76-9268-CFA4AF1F590A}" destId="{AD34E6C8-F7E4-48B6-BDFC-F698DCC6A439}" srcOrd="0" destOrd="0" presId="urn:microsoft.com/office/officeart/2005/8/layout/orgChart1"/>
    <dgm:cxn modelId="{70DF994D-9826-4C58-B86F-8E839823A490}" type="presParOf" srcId="{1969EA98-E8B2-4A76-9268-CFA4AF1F590A}" destId="{4BCE5511-1A76-4D01-B8F6-4F5B07BB2CA8}" srcOrd="1" destOrd="0" presId="urn:microsoft.com/office/officeart/2005/8/layout/orgChart1"/>
    <dgm:cxn modelId="{6A136935-B365-4EC2-B6BE-37C18D42E5B3}" type="presParOf" srcId="{D717C8C1-631D-48F3-B301-B16333B17522}" destId="{6085E7C6-CD48-4ADA-933C-F75744ABD050}" srcOrd="1" destOrd="0" presId="urn:microsoft.com/office/officeart/2005/8/layout/orgChart1"/>
    <dgm:cxn modelId="{D185E70B-6640-4B5F-AD95-8A03639FBB2B}" type="presParOf" srcId="{D717C8C1-631D-48F3-B301-B16333B17522}" destId="{AE47B0C3-A6DF-43A6-B22C-A9A6D9C1CD16}" srcOrd="2" destOrd="0" presId="urn:microsoft.com/office/officeart/2005/8/layout/orgChart1"/>
    <dgm:cxn modelId="{1B44DFDD-2592-4E30-A682-18169DCF7AA8}" type="presParOf" srcId="{DC56C1D8-8E64-457C-A5A9-5C6C7C802083}" destId="{C968F3D4-4B06-4C04-B236-95508FDCF926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9C6C0D67-AEDB-4C60-9F3B-7AEA49EDEB8A}" type="doc">
      <dgm:prSet loTypeId="urn:microsoft.com/office/officeart/2008/layout/NameandTitleOrganizationalChart" loCatId="hierarchy" qsTypeId="urn:microsoft.com/office/officeart/2005/8/quickstyle/3d3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FCAE792-4444-4F8A-9CC3-20E4F02199CD}">
      <dgm:prSet custT="1"/>
      <dgm:spPr/>
      <dgm:t>
        <a:bodyPr/>
        <a:lstStyle/>
        <a:p>
          <a:r>
            <a:rPr lang="en-US" sz="1000" dirty="0"/>
            <a:t>E05 Sr. Meter Maintenance Manager </a:t>
          </a:r>
        </a:p>
      </dgm:t>
    </dgm:pt>
    <dgm:pt modelId="{C9C4754C-9B75-4C83-BB55-D5CA09EB2067}" type="sibTrans" cxnId="{19D83A7D-900F-45A0-A632-636D84EE1126}">
      <dgm:prSet custT="1"/>
      <dgm:spPr/>
      <dgm:t>
        <a:bodyPr/>
        <a:lstStyle/>
        <a:p>
          <a:pPr algn="ctr"/>
          <a:r>
            <a:rPr lang="en-US" sz="1800" dirty="0"/>
            <a:t>Mickey Bracey </a:t>
          </a:r>
        </a:p>
      </dgm:t>
    </dgm:pt>
    <dgm:pt modelId="{F2E9ED34-73AC-495B-878D-3B706318B9D3}" type="parTrans" cxnId="{19D83A7D-900F-45A0-A632-636D84EE1126}">
      <dgm:prSet/>
      <dgm:spPr/>
      <dgm:t>
        <a:bodyPr/>
        <a:lstStyle/>
        <a:p>
          <a:endParaRPr lang="en-US"/>
        </a:p>
      </dgm:t>
    </dgm:pt>
    <dgm:pt modelId="{6C98BCEA-BF84-4AC9-8C7F-CF9C0B2457C1}">
      <dgm:prSet custT="1"/>
      <dgm:spPr/>
      <dgm:t>
        <a:bodyPr/>
        <a:lstStyle/>
        <a:p>
          <a:r>
            <a:rPr lang="en-US" sz="1000" dirty="0"/>
            <a:t>E04 Revenue Protection Manager </a:t>
          </a:r>
        </a:p>
      </dgm:t>
    </dgm:pt>
    <dgm:pt modelId="{7B516EC9-88A3-4EF0-9B18-89CCD4F0A2E9}" type="sibTrans" cxnId="{92FBFCBC-E114-40B8-9B2F-99E4DE622AFA}">
      <dgm:prSet custT="1"/>
      <dgm:spPr/>
      <dgm:t>
        <a:bodyPr/>
        <a:lstStyle/>
        <a:p>
          <a:pPr algn="ctr"/>
          <a:r>
            <a:rPr lang="en-US" sz="1800" dirty="0"/>
            <a:t>Keith Steger</a:t>
          </a:r>
        </a:p>
      </dgm:t>
    </dgm:pt>
    <dgm:pt modelId="{020EACD8-62F5-43B8-8135-9D700F1086D7}" type="parTrans" cxnId="{92FBFCBC-E114-40B8-9B2F-99E4DE622AFA}">
      <dgm:prSet/>
      <dgm:spPr/>
      <dgm:t>
        <a:bodyPr/>
        <a:lstStyle/>
        <a:p>
          <a:endParaRPr lang="en-US"/>
        </a:p>
      </dgm:t>
    </dgm:pt>
    <dgm:pt modelId="{EDC08F4C-4CF2-45FE-B29B-7FBCA2554165}">
      <dgm:prSet custT="1"/>
      <dgm:spPr/>
      <dgm:t>
        <a:bodyPr/>
        <a:lstStyle/>
        <a:p>
          <a:r>
            <a:rPr lang="en-US" sz="1000" dirty="0"/>
            <a:t>E03 Supervisor Rev Pro and HB</a:t>
          </a:r>
        </a:p>
        <a:p>
          <a:r>
            <a:rPr lang="en-US" sz="1000" dirty="0"/>
            <a:t>1 Work Planner — T. Mont</a:t>
          </a:r>
        </a:p>
      </dgm:t>
    </dgm:pt>
    <dgm:pt modelId="{2418D5CA-672D-468A-9D31-47140EBEDF24}" type="sibTrans" cxnId="{3F1163EF-5364-4C8E-BB52-5A7B1A3E567D}">
      <dgm:prSet custT="1"/>
      <dgm:spPr/>
      <dgm:t>
        <a:bodyPr/>
        <a:lstStyle/>
        <a:p>
          <a:pPr algn="ctr"/>
          <a:r>
            <a:rPr lang="en-US" sz="1800" dirty="0"/>
            <a:t>Open</a:t>
          </a:r>
        </a:p>
      </dgm:t>
    </dgm:pt>
    <dgm:pt modelId="{EBC96106-9246-4613-A940-96BEAB92741B}" type="parTrans" cxnId="{3F1163EF-5364-4C8E-BB52-5A7B1A3E567D}">
      <dgm:prSet/>
      <dgm:spPr/>
      <dgm:t>
        <a:bodyPr/>
        <a:lstStyle/>
        <a:p>
          <a:endParaRPr lang="en-US"/>
        </a:p>
      </dgm:t>
    </dgm:pt>
    <dgm:pt modelId="{1E55B51B-6C2B-4348-9747-54E11D32C10E}">
      <dgm:prSet custT="1"/>
      <dgm:spPr/>
      <dgm:t>
        <a:bodyPr/>
        <a:lstStyle/>
        <a:p>
          <a:r>
            <a:rPr lang="en-US" sz="1000" dirty="0"/>
            <a:t>E04 Meter Maintenance Manager Field </a:t>
          </a:r>
        </a:p>
      </dgm:t>
    </dgm:pt>
    <dgm:pt modelId="{ECADABB7-5D9E-44D5-A75C-901DCD544036}" type="sibTrans" cxnId="{BE9237AB-30EB-43EF-9225-DF5F24C5D1B8}">
      <dgm:prSet custT="1"/>
      <dgm:spPr/>
      <dgm:t>
        <a:bodyPr/>
        <a:lstStyle/>
        <a:p>
          <a:pPr algn="ctr"/>
          <a:r>
            <a:rPr lang="en-US" sz="1800" dirty="0"/>
            <a:t>Harry Sheneman </a:t>
          </a:r>
        </a:p>
      </dgm:t>
    </dgm:pt>
    <dgm:pt modelId="{61F910B2-589F-4E21-8C0F-36B3727F8520}" type="parTrans" cxnId="{BE9237AB-30EB-43EF-9225-DF5F24C5D1B8}">
      <dgm:prSet/>
      <dgm:spPr/>
      <dgm:t>
        <a:bodyPr/>
        <a:lstStyle/>
        <a:p>
          <a:endParaRPr lang="en-US"/>
        </a:p>
      </dgm:t>
    </dgm:pt>
    <dgm:pt modelId="{F8D764EB-C566-415D-8636-1EE4014B55D9}">
      <dgm:prSet custT="1"/>
      <dgm:spPr/>
      <dgm:t>
        <a:bodyPr/>
        <a:lstStyle/>
        <a:p>
          <a:r>
            <a:rPr lang="en-US" sz="1000" dirty="0"/>
            <a:t>E03 Supervisor Meter Shop and Electric MM                                           1 Work Planner — P. Morroney</a:t>
          </a:r>
        </a:p>
      </dgm:t>
    </dgm:pt>
    <dgm:pt modelId="{FBDBEC64-09DE-4566-984A-0A068C9DEF51}" type="sibTrans" cxnId="{FDAF47AC-B8F9-455F-B67A-E6AD7F0CBCD1}">
      <dgm:prSet custT="1"/>
      <dgm:spPr/>
      <dgm:t>
        <a:bodyPr/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170D67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Shawn Carbone</a:t>
          </a:r>
        </a:p>
      </dgm:t>
    </dgm:pt>
    <dgm:pt modelId="{9DE80B81-506E-4E3B-B09E-08A863DB59E3}" type="parTrans" cxnId="{FDAF47AC-B8F9-455F-B67A-E6AD7F0CBCD1}">
      <dgm:prSet/>
      <dgm:spPr/>
      <dgm:t>
        <a:bodyPr/>
        <a:lstStyle/>
        <a:p>
          <a:endParaRPr lang="en-US"/>
        </a:p>
      </dgm:t>
    </dgm:pt>
    <dgm:pt modelId="{0790522B-DA9D-45B2-95BC-44201238A60D}">
      <dgm:prSet custT="1"/>
      <dgm:spPr/>
      <dgm:t>
        <a:bodyPr/>
        <a:lstStyle/>
        <a:p>
          <a:pPr algn="ctr"/>
          <a:r>
            <a:rPr lang="en-US" sz="1000" dirty="0"/>
            <a:t>E03 Supervisor Gas MM</a:t>
          </a:r>
        </a:p>
        <a:p>
          <a:pPr algn="ctr"/>
          <a:r>
            <a:rPr lang="en-US" sz="1000" dirty="0"/>
            <a:t>1 Work Planner — V. Stetler </a:t>
          </a:r>
        </a:p>
      </dgm:t>
    </dgm:pt>
    <dgm:pt modelId="{39313909-E3E0-4086-83C0-F109E8056274}" type="sibTrans" cxnId="{B4C71FAB-943D-4CEE-88E9-870834BC71B3}">
      <dgm:prSet custT="1"/>
      <dgm:spPr/>
      <dgm:t>
        <a:bodyPr/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170D67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Brendan Ryan </a:t>
          </a:r>
        </a:p>
      </dgm:t>
    </dgm:pt>
    <dgm:pt modelId="{255356BF-6E88-4355-8171-D94E718865FC}" type="parTrans" cxnId="{B4C71FAB-943D-4CEE-88E9-870834BC71B3}">
      <dgm:prSet/>
      <dgm:spPr/>
      <dgm:t>
        <a:bodyPr/>
        <a:lstStyle/>
        <a:p>
          <a:endParaRPr lang="en-US"/>
        </a:p>
      </dgm:t>
    </dgm:pt>
    <dgm:pt modelId="{8040B7DC-C299-4F5F-896C-7D1667AAEDC0}">
      <dgm:prSet custT="1"/>
      <dgm:spPr/>
      <dgm:t>
        <a:bodyPr/>
        <a:lstStyle/>
        <a:p>
          <a:r>
            <a:rPr lang="en-US" sz="1000" dirty="0"/>
            <a:t>Administrative Coordinator </a:t>
          </a:r>
        </a:p>
      </dgm:t>
    </dgm:pt>
    <dgm:pt modelId="{2762FDCF-0ECD-4F1B-A1A1-A08FCB5B9C2C}" type="parTrans" cxnId="{D9682103-4A30-45D3-A1DF-78A01353BF6A}">
      <dgm:prSet/>
      <dgm:spPr/>
      <dgm:t>
        <a:bodyPr/>
        <a:lstStyle/>
        <a:p>
          <a:endParaRPr lang="en-US"/>
        </a:p>
      </dgm:t>
    </dgm:pt>
    <dgm:pt modelId="{84468BFC-EB0E-4D75-A41C-1077B69B8EEE}" type="sibTrans" cxnId="{D9682103-4A30-45D3-A1DF-78A01353BF6A}">
      <dgm:prSet custT="1"/>
      <dgm:spPr/>
      <dgm:t>
        <a:bodyPr/>
        <a:lstStyle/>
        <a:p>
          <a:pPr algn="ctr"/>
          <a:r>
            <a:rPr lang="en-US" sz="2000" dirty="0"/>
            <a:t>Darlene Banks</a:t>
          </a:r>
        </a:p>
      </dgm:t>
    </dgm:pt>
    <dgm:pt modelId="{78E0EB93-D3DE-4E03-A43D-1367834FDCDD}" type="pres">
      <dgm:prSet presAssocID="{9C6C0D67-AEDB-4C60-9F3B-7AEA49EDEB8A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64DD1A36-5B28-42C6-895B-2357243D1CCA}" type="pres">
      <dgm:prSet presAssocID="{8FCAE792-4444-4F8A-9CC3-20E4F02199CD}" presName="hierRoot1" presStyleCnt="0">
        <dgm:presLayoutVars>
          <dgm:hierBranch val="init"/>
        </dgm:presLayoutVars>
      </dgm:prSet>
      <dgm:spPr/>
    </dgm:pt>
    <dgm:pt modelId="{FD6F31C2-25CD-4A4B-97F4-8B6A274FE0C5}" type="pres">
      <dgm:prSet presAssocID="{8FCAE792-4444-4F8A-9CC3-20E4F02199CD}" presName="rootComposite1" presStyleCnt="0"/>
      <dgm:spPr/>
    </dgm:pt>
    <dgm:pt modelId="{E83E1B64-C5DF-4590-BE80-48B663BFB310}" type="pres">
      <dgm:prSet presAssocID="{8FCAE792-4444-4F8A-9CC3-20E4F02199CD}" presName="rootText1" presStyleLbl="node0" presStyleIdx="0" presStyleCnt="1">
        <dgm:presLayoutVars>
          <dgm:chMax/>
          <dgm:chPref val="3"/>
        </dgm:presLayoutVars>
      </dgm:prSet>
      <dgm:spPr/>
    </dgm:pt>
    <dgm:pt modelId="{874209AA-1534-4F3B-B5F5-EC545003A716}" type="pres">
      <dgm:prSet presAssocID="{8FCAE792-4444-4F8A-9CC3-20E4F02199CD}" presName="titleText1" presStyleLbl="fgAcc0" presStyleIdx="0" presStyleCnt="1" custLinFactNeighborX="-16726" custLinFactNeighborY="-50231">
        <dgm:presLayoutVars>
          <dgm:chMax val="0"/>
          <dgm:chPref val="0"/>
        </dgm:presLayoutVars>
      </dgm:prSet>
      <dgm:spPr/>
    </dgm:pt>
    <dgm:pt modelId="{02A923D5-9C51-4E21-B12C-F395066968A1}" type="pres">
      <dgm:prSet presAssocID="{8FCAE792-4444-4F8A-9CC3-20E4F02199CD}" presName="rootConnector1" presStyleLbl="node1" presStyleIdx="0" presStyleCnt="6"/>
      <dgm:spPr/>
    </dgm:pt>
    <dgm:pt modelId="{14DF069D-0D8D-4CB5-A1D7-811135DAB9AA}" type="pres">
      <dgm:prSet presAssocID="{8FCAE792-4444-4F8A-9CC3-20E4F02199CD}" presName="hierChild2" presStyleCnt="0"/>
      <dgm:spPr/>
    </dgm:pt>
    <dgm:pt modelId="{29BD77CB-9359-4B4C-8CF5-8D58F803B734}" type="pres">
      <dgm:prSet presAssocID="{2762FDCF-0ECD-4F1B-A1A1-A08FCB5B9C2C}" presName="Name37" presStyleLbl="parChTrans1D2" presStyleIdx="0" presStyleCnt="3"/>
      <dgm:spPr/>
    </dgm:pt>
    <dgm:pt modelId="{A146E9CA-B47F-48DA-A9CD-C2E57DDC53AE}" type="pres">
      <dgm:prSet presAssocID="{8040B7DC-C299-4F5F-896C-7D1667AAEDC0}" presName="hierRoot2" presStyleCnt="0">
        <dgm:presLayoutVars>
          <dgm:hierBranch val="init"/>
        </dgm:presLayoutVars>
      </dgm:prSet>
      <dgm:spPr/>
    </dgm:pt>
    <dgm:pt modelId="{F16FE378-AA36-47F3-8606-725BF2A1FCE9}" type="pres">
      <dgm:prSet presAssocID="{8040B7DC-C299-4F5F-896C-7D1667AAEDC0}" presName="rootComposite" presStyleCnt="0"/>
      <dgm:spPr/>
    </dgm:pt>
    <dgm:pt modelId="{A70AC101-F407-4C4C-9AEC-D87FD1E342A9}" type="pres">
      <dgm:prSet presAssocID="{8040B7DC-C299-4F5F-896C-7D1667AAEDC0}" presName="rootText" presStyleLbl="node1" presStyleIdx="0" presStyleCnt="6">
        <dgm:presLayoutVars>
          <dgm:chMax/>
          <dgm:chPref val="3"/>
        </dgm:presLayoutVars>
      </dgm:prSet>
      <dgm:spPr/>
    </dgm:pt>
    <dgm:pt modelId="{870368A4-66C5-4CD7-9B38-3BF782242EF7}" type="pres">
      <dgm:prSet presAssocID="{8040B7DC-C299-4F5F-896C-7D1667AAEDC0}" presName="titleText2" presStyleLbl="fgAcc1" presStyleIdx="0" presStyleCnt="6" custLinFactNeighborX="-18044" custLinFactNeighborY="-69066">
        <dgm:presLayoutVars>
          <dgm:chMax val="0"/>
          <dgm:chPref val="0"/>
        </dgm:presLayoutVars>
      </dgm:prSet>
      <dgm:spPr/>
    </dgm:pt>
    <dgm:pt modelId="{1FC951CB-9652-4A57-985C-BADB08E8DFC7}" type="pres">
      <dgm:prSet presAssocID="{8040B7DC-C299-4F5F-896C-7D1667AAEDC0}" presName="rootConnector" presStyleLbl="node2" presStyleIdx="0" presStyleCnt="0"/>
      <dgm:spPr/>
    </dgm:pt>
    <dgm:pt modelId="{416AEA1D-FB60-4706-8995-8ED06D42D838}" type="pres">
      <dgm:prSet presAssocID="{8040B7DC-C299-4F5F-896C-7D1667AAEDC0}" presName="hierChild4" presStyleCnt="0"/>
      <dgm:spPr/>
    </dgm:pt>
    <dgm:pt modelId="{88A27BBD-4B6D-47BA-964E-102804A65D2F}" type="pres">
      <dgm:prSet presAssocID="{8040B7DC-C299-4F5F-896C-7D1667AAEDC0}" presName="hierChild5" presStyleCnt="0"/>
      <dgm:spPr/>
    </dgm:pt>
    <dgm:pt modelId="{D7A1C4FD-AAAE-4BD8-A0D1-E8C218F8BE4B}" type="pres">
      <dgm:prSet presAssocID="{020EACD8-62F5-43B8-8135-9D700F1086D7}" presName="Name37" presStyleLbl="parChTrans1D2" presStyleIdx="1" presStyleCnt="3"/>
      <dgm:spPr/>
    </dgm:pt>
    <dgm:pt modelId="{9CD3A797-82F8-443D-AB5F-B59A6BB13282}" type="pres">
      <dgm:prSet presAssocID="{6C98BCEA-BF84-4AC9-8C7F-CF9C0B2457C1}" presName="hierRoot2" presStyleCnt="0">
        <dgm:presLayoutVars>
          <dgm:hierBranch val="init"/>
        </dgm:presLayoutVars>
      </dgm:prSet>
      <dgm:spPr/>
    </dgm:pt>
    <dgm:pt modelId="{E507CD8E-AF8F-4B8B-8E45-A9A7FB5A13B6}" type="pres">
      <dgm:prSet presAssocID="{6C98BCEA-BF84-4AC9-8C7F-CF9C0B2457C1}" presName="rootComposite" presStyleCnt="0"/>
      <dgm:spPr/>
    </dgm:pt>
    <dgm:pt modelId="{FABC89E4-BD26-4031-A469-9BD3F3C5573C}" type="pres">
      <dgm:prSet presAssocID="{6C98BCEA-BF84-4AC9-8C7F-CF9C0B2457C1}" presName="rootText" presStyleLbl="node1" presStyleIdx="1" presStyleCnt="6">
        <dgm:presLayoutVars>
          <dgm:chMax/>
          <dgm:chPref val="3"/>
        </dgm:presLayoutVars>
      </dgm:prSet>
      <dgm:spPr/>
    </dgm:pt>
    <dgm:pt modelId="{18BEA2BD-67B4-4C86-867C-F3B51DD46527}" type="pres">
      <dgm:prSet presAssocID="{6C98BCEA-BF84-4AC9-8C7F-CF9C0B2457C1}" presName="titleText2" presStyleLbl="fgAcc1" presStyleIdx="1" presStyleCnt="6" custLinFactNeighborX="-17329" custLinFactNeighborY="-69030">
        <dgm:presLayoutVars>
          <dgm:chMax val="0"/>
          <dgm:chPref val="0"/>
        </dgm:presLayoutVars>
      </dgm:prSet>
      <dgm:spPr/>
    </dgm:pt>
    <dgm:pt modelId="{4A95FFD9-7B57-458B-AAE1-47887F34BA53}" type="pres">
      <dgm:prSet presAssocID="{6C98BCEA-BF84-4AC9-8C7F-CF9C0B2457C1}" presName="rootConnector" presStyleLbl="node2" presStyleIdx="0" presStyleCnt="0"/>
      <dgm:spPr/>
    </dgm:pt>
    <dgm:pt modelId="{B2A4D300-E960-4EA5-AB58-A197FCD1B44D}" type="pres">
      <dgm:prSet presAssocID="{6C98BCEA-BF84-4AC9-8C7F-CF9C0B2457C1}" presName="hierChild4" presStyleCnt="0"/>
      <dgm:spPr/>
    </dgm:pt>
    <dgm:pt modelId="{6EA0065D-379C-495B-8C40-D079B2F1A889}" type="pres">
      <dgm:prSet presAssocID="{EBC96106-9246-4613-A940-96BEAB92741B}" presName="Name37" presStyleLbl="parChTrans1D3" presStyleIdx="0" presStyleCnt="3"/>
      <dgm:spPr/>
    </dgm:pt>
    <dgm:pt modelId="{0EB8B6A9-8B45-487B-8C64-77D77CA52FB9}" type="pres">
      <dgm:prSet presAssocID="{EDC08F4C-4CF2-45FE-B29B-7FBCA2554165}" presName="hierRoot2" presStyleCnt="0">
        <dgm:presLayoutVars>
          <dgm:hierBranch val="init"/>
        </dgm:presLayoutVars>
      </dgm:prSet>
      <dgm:spPr/>
    </dgm:pt>
    <dgm:pt modelId="{B1A31836-4423-4B66-8599-FFD0EEA3F829}" type="pres">
      <dgm:prSet presAssocID="{EDC08F4C-4CF2-45FE-B29B-7FBCA2554165}" presName="rootComposite" presStyleCnt="0"/>
      <dgm:spPr/>
    </dgm:pt>
    <dgm:pt modelId="{4B50847B-6ECB-499D-9B4B-57B302A6DFF2}" type="pres">
      <dgm:prSet presAssocID="{EDC08F4C-4CF2-45FE-B29B-7FBCA2554165}" presName="rootText" presStyleLbl="node1" presStyleIdx="2" presStyleCnt="6">
        <dgm:presLayoutVars>
          <dgm:chMax/>
          <dgm:chPref val="3"/>
        </dgm:presLayoutVars>
      </dgm:prSet>
      <dgm:spPr/>
    </dgm:pt>
    <dgm:pt modelId="{DA7E53D6-E77F-4D44-9E75-06ED11F99F9B}" type="pres">
      <dgm:prSet presAssocID="{EDC08F4C-4CF2-45FE-B29B-7FBCA2554165}" presName="titleText2" presStyleLbl="fgAcc1" presStyleIdx="2" presStyleCnt="6" custLinFactNeighborX="-14219" custLinFactNeighborY="-53295">
        <dgm:presLayoutVars>
          <dgm:chMax val="0"/>
          <dgm:chPref val="0"/>
        </dgm:presLayoutVars>
      </dgm:prSet>
      <dgm:spPr/>
    </dgm:pt>
    <dgm:pt modelId="{AC767415-6E48-4585-B698-4AAD55FD9972}" type="pres">
      <dgm:prSet presAssocID="{EDC08F4C-4CF2-45FE-B29B-7FBCA2554165}" presName="rootConnector" presStyleLbl="node3" presStyleIdx="0" presStyleCnt="0"/>
      <dgm:spPr/>
    </dgm:pt>
    <dgm:pt modelId="{462B2A4F-1CCD-4AB8-A812-3FAD28197F0A}" type="pres">
      <dgm:prSet presAssocID="{EDC08F4C-4CF2-45FE-B29B-7FBCA2554165}" presName="hierChild4" presStyleCnt="0"/>
      <dgm:spPr/>
    </dgm:pt>
    <dgm:pt modelId="{661764D2-5D05-46FF-9390-DE499D0FAD6E}" type="pres">
      <dgm:prSet presAssocID="{EDC08F4C-4CF2-45FE-B29B-7FBCA2554165}" presName="hierChild5" presStyleCnt="0"/>
      <dgm:spPr/>
    </dgm:pt>
    <dgm:pt modelId="{FDCCE3E4-45A9-49EF-9C18-8728A7709AF5}" type="pres">
      <dgm:prSet presAssocID="{6C98BCEA-BF84-4AC9-8C7F-CF9C0B2457C1}" presName="hierChild5" presStyleCnt="0"/>
      <dgm:spPr/>
    </dgm:pt>
    <dgm:pt modelId="{2C42F879-A40D-46D6-8A46-CDAA9D00AEE1}" type="pres">
      <dgm:prSet presAssocID="{61F910B2-589F-4E21-8C0F-36B3727F8520}" presName="Name37" presStyleLbl="parChTrans1D2" presStyleIdx="2" presStyleCnt="3"/>
      <dgm:spPr/>
    </dgm:pt>
    <dgm:pt modelId="{C34492CE-BB17-4CFC-980F-AADDE64B9A4B}" type="pres">
      <dgm:prSet presAssocID="{1E55B51B-6C2B-4348-9747-54E11D32C10E}" presName="hierRoot2" presStyleCnt="0">
        <dgm:presLayoutVars>
          <dgm:hierBranch val="init"/>
        </dgm:presLayoutVars>
      </dgm:prSet>
      <dgm:spPr/>
    </dgm:pt>
    <dgm:pt modelId="{A4B7D76C-5208-4940-AA07-6CE37FA40C67}" type="pres">
      <dgm:prSet presAssocID="{1E55B51B-6C2B-4348-9747-54E11D32C10E}" presName="rootComposite" presStyleCnt="0"/>
      <dgm:spPr/>
    </dgm:pt>
    <dgm:pt modelId="{551B7BD8-393E-4A2B-97CF-1989B5EA8E5E}" type="pres">
      <dgm:prSet presAssocID="{1E55B51B-6C2B-4348-9747-54E11D32C10E}" presName="rootText" presStyleLbl="node1" presStyleIdx="3" presStyleCnt="6">
        <dgm:presLayoutVars>
          <dgm:chMax/>
          <dgm:chPref val="3"/>
        </dgm:presLayoutVars>
      </dgm:prSet>
      <dgm:spPr/>
    </dgm:pt>
    <dgm:pt modelId="{B20053A6-1745-4C12-8A0F-AF03795C0E50}" type="pres">
      <dgm:prSet presAssocID="{1E55B51B-6C2B-4348-9747-54E11D32C10E}" presName="titleText2" presStyleLbl="fgAcc1" presStyleIdx="3" presStyleCnt="6" custLinFactNeighborX="-15552" custLinFactNeighborY="-69030">
        <dgm:presLayoutVars>
          <dgm:chMax val="0"/>
          <dgm:chPref val="0"/>
        </dgm:presLayoutVars>
      </dgm:prSet>
      <dgm:spPr/>
    </dgm:pt>
    <dgm:pt modelId="{F6E37732-3218-4E5C-9B57-2AAE8416A4D5}" type="pres">
      <dgm:prSet presAssocID="{1E55B51B-6C2B-4348-9747-54E11D32C10E}" presName="rootConnector" presStyleLbl="node2" presStyleIdx="0" presStyleCnt="0"/>
      <dgm:spPr/>
    </dgm:pt>
    <dgm:pt modelId="{3AAC79B4-995A-41B3-A02B-58DF13FDC2C2}" type="pres">
      <dgm:prSet presAssocID="{1E55B51B-6C2B-4348-9747-54E11D32C10E}" presName="hierChild4" presStyleCnt="0"/>
      <dgm:spPr/>
    </dgm:pt>
    <dgm:pt modelId="{A349959F-E530-4FEB-A889-9126A990ADB3}" type="pres">
      <dgm:prSet presAssocID="{9DE80B81-506E-4E3B-B09E-08A863DB59E3}" presName="Name37" presStyleLbl="parChTrans1D3" presStyleIdx="1" presStyleCnt="3"/>
      <dgm:spPr/>
    </dgm:pt>
    <dgm:pt modelId="{4E619C90-4537-4ABF-91F4-58B42F8BE538}" type="pres">
      <dgm:prSet presAssocID="{F8D764EB-C566-415D-8636-1EE4014B55D9}" presName="hierRoot2" presStyleCnt="0">
        <dgm:presLayoutVars>
          <dgm:hierBranch val="init"/>
        </dgm:presLayoutVars>
      </dgm:prSet>
      <dgm:spPr/>
    </dgm:pt>
    <dgm:pt modelId="{C15FB8CB-06BE-4A3A-90EE-806AF30ECA4E}" type="pres">
      <dgm:prSet presAssocID="{F8D764EB-C566-415D-8636-1EE4014B55D9}" presName="rootComposite" presStyleCnt="0"/>
      <dgm:spPr/>
    </dgm:pt>
    <dgm:pt modelId="{4222E061-0ACF-476D-9CC3-3F9BE0779ACB}" type="pres">
      <dgm:prSet presAssocID="{F8D764EB-C566-415D-8636-1EE4014B55D9}" presName="rootText" presStyleLbl="node1" presStyleIdx="4" presStyleCnt="6" custLinFactNeighborY="-2670">
        <dgm:presLayoutVars>
          <dgm:chMax/>
          <dgm:chPref val="3"/>
        </dgm:presLayoutVars>
      </dgm:prSet>
      <dgm:spPr/>
    </dgm:pt>
    <dgm:pt modelId="{560E380B-46C5-4CBD-B6DF-CD8858640A1E}" type="pres">
      <dgm:prSet presAssocID="{F8D764EB-C566-415D-8636-1EE4014B55D9}" presName="titleText2" presStyleLbl="fgAcc1" presStyleIdx="4" presStyleCnt="6" custLinFactNeighborX="-16257" custLinFactNeighborY="-48661">
        <dgm:presLayoutVars>
          <dgm:chMax val="0"/>
          <dgm:chPref val="0"/>
        </dgm:presLayoutVars>
      </dgm:prSet>
      <dgm:spPr/>
    </dgm:pt>
    <dgm:pt modelId="{C961B9C2-F48F-42B5-B8A9-C035C8E7CDA4}" type="pres">
      <dgm:prSet presAssocID="{F8D764EB-C566-415D-8636-1EE4014B55D9}" presName="rootConnector" presStyleLbl="node3" presStyleIdx="0" presStyleCnt="0"/>
      <dgm:spPr/>
    </dgm:pt>
    <dgm:pt modelId="{6079369B-7FCC-4F6A-9DB7-BA5F6AEFABD7}" type="pres">
      <dgm:prSet presAssocID="{F8D764EB-C566-415D-8636-1EE4014B55D9}" presName="hierChild4" presStyleCnt="0"/>
      <dgm:spPr/>
    </dgm:pt>
    <dgm:pt modelId="{0DF9FA11-73F7-481A-A021-E081ED3C5D89}" type="pres">
      <dgm:prSet presAssocID="{F8D764EB-C566-415D-8636-1EE4014B55D9}" presName="hierChild5" presStyleCnt="0"/>
      <dgm:spPr/>
    </dgm:pt>
    <dgm:pt modelId="{C9158022-85B7-49A2-947E-CF99699F0958}" type="pres">
      <dgm:prSet presAssocID="{255356BF-6E88-4355-8171-D94E718865FC}" presName="Name37" presStyleLbl="parChTrans1D3" presStyleIdx="2" presStyleCnt="3"/>
      <dgm:spPr/>
    </dgm:pt>
    <dgm:pt modelId="{89553465-9E00-4EAF-B84F-A974548A230F}" type="pres">
      <dgm:prSet presAssocID="{0790522B-DA9D-45B2-95BC-44201238A60D}" presName="hierRoot2" presStyleCnt="0">
        <dgm:presLayoutVars>
          <dgm:hierBranch val="init"/>
        </dgm:presLayoutVars>
      </dgm:prSet>
      <dgm:spPr/>
    </dgm:pt>
    <dgm:pt modelId="{89FA2BFA-B48B-4151-81AD-1A6A8BD6C370}" type="pres">
      <dgm:prSet presAssocID="{0790522B-DA9D-45B2-95BC-44201238A60D}" presName="rootComposite" presStyleCnt="0"/>
      <dgm:spPr/>
    </dgm:pt>
    <dgm:pt modelId="{B849D618-55B7-4054-B072-7A3DE5CFEAAA}" type="pres">
      <dgm:prSet presAssocID="{0790522B-DA9D-45B2-95BC-44201238A60D}" presName="rootText" presStyleLbl="node1" presStyleIdx="5" presStyleCnt="6">
        <dgm:presLayoutVars>
          <dgm:chMax/>
          <dgm:chPref val="3"/>
        </dgm:presLayoutVars>
      </dgm:prSet>
      <dgm:spPr/>
    </dgm:pt>
    <dgm:pt modelId="{DBE7322E-33F4-48F4-A336-1342C2A195BF}" type="pres">
      <dgm:prSet presAssocID="{0790522B-DA9D-45B2-95BC-44201238A60D}" presName="titleText2" presStyleLbl="fgAcc1" presStyleIdx="5" presStyleCnt="6" custLinFactNeighborX="-16885" custLinFactNeighborY="-64881">
        <dgm:presLayoutVars>
          <dgm:chMax val="0"/>
          <dgm:chPref val="0"/>
        </dgm:presLayoutVars>
      </dgm:prSet>
      <dgm:spPr/>
    </dgm:pt>
    <dgm:pt modelId="{0E35BDD4-0576-4359-B18D-BA3BA2830051}" type="pres">
      <dgm:prSet presAssocID="{0790522B-DA9D-45B2-95BC-44201238A60D}" presName="rootConnector" presStyleLbl="node3" presStyleIdx="0" presStyleCnt="0"/>
      <dgm:spPr/>
    </dgm:pt>
    <dgm:pt modelId="{FA6963C6-4F06-40A2-AAB1-455BEF4782B6}" type="pres">
      <dgm:prSet presAssocID="{0790522B-DA9D-45B2-95BC-44201238A60D}" presName="hierChild4" presStyleCnt="0"/>
      <dgm:spPr/>
    </dgm:pt>
    <dgm:pt modelId="{0652EFCA-6F40-40FB-83A8-3C70F78EA857}" type="pres">
      <dgm:prSet presAssocID="{0790522B-DA9D-45B2-95BC-44201238A60D}" presName="hierChild5" presStyleCnt="0"/>
      <dgm:spPr/>
    </dgm:pt>
    <dgm:pt modelId="{71E5FEF3-B8E2-4C52-B2C4-E87831A15F97}" type="pres">
      <dgm:prSet presAssocID="{1E55B51B-6C2B-4348-9747-54E11D32C10E}" presName="hierChild5" presStyleCnt="0"/>
      <dgm:spPr/>
    </dgm:pt>
    <dgm:pt modelId="{C5860F89-5C3B-4F2A-8547-555AF91587C0}" type="pres">
      <dgm:prSet presAssocID="{8FCAE792-4444-4F8A-9CC3-20E4F02199CD}" presName="hierChild3" presStyleCnt="0"/>
      <dgm:spPr/>
    </dgm:pt>
  </dgm:ptLst>
  <dgm:cxnLst>
    <dgm:cxn modelId="{D9682103-4A30-45D3-A1DF-78A01353BF6A}" srcId="{8FCAE792-4444-4F8A-9CC3-20E4F02199CD}" destId="{8040B7DC-C299-4F5F-896C-7D1667AAEDC0}" srcOrd="0" destOrd="0" parTransId="{2762FDCF-0ECD-4F1B-A1A1-A08FCB5B9C2C}" sibTransId="{84468BFC-EB0E-4D75-A41C-1077B69B8EEE}"/>
    <dgm:cxn modelId="{C1C2510C-0E5C-4DC6-BA89-8CCDAE972276}" type="presOf" srcId="{1E55B51B-6C2B-4348-9747-54E11D32C10E}" destId="{551B7BD8-393E-4A2B-97CF-1989B5EA8E5E}" srcOrd="0" destOrd="0" presId="urn:microsoft.com/office/officeart/2008/layout/NameandTitleOrganizationalChart"/>
    <dgm:cxn modelId="{AB49AE0C-5392-4709-82DD-B291C71E2DB7}" type="presOf" srcId="{EDC08F4C-4CF2-45FE-B29B-7FBCA2554165}" destId="{AC767415-6E48-4585-B698-4AAD55FD9972}" srcOrd="1" destOrd="0" presId="urn:microsoft.com/office/officeart/2008/layout/NameandTitleOrganizationalChart"/>
    <dgm:cxn modelId="{B57AF52B-26B4-4DA7-A516-3A41496F15BB}" type="presOf" srcId="{ECADABB7-5D9E-44D5-A75C-901DCD544036}" destId="{B20053A6-1745-4C12-8A0F-AF03795C0E50}" srcOrd="0" destOrd="0" presId="urn:microsoft.com/office/officeart/2008/layout/NameandTitleOrganizationalChart"/>
    <dgm:cxn modelId="{FEA7F02F-D9A5-4C32-AA9A-0472DB6BD0E1}" type="presOf" srcId="{7B516EC9-88A3-4EF0-9B18-89CCD4F0A2E9}" destId="{18BEA2BD-67B4-4C86-867C-F3B51DD46527}" srcOrd="0" destOrd="0" presId="urn:microsoft.com/office/officeart/2008/layout/NameandTitleOrganizationalChart"/>
    <dgm:cxn modelId="{D96B0235-7CE0-4CA3-950F-0626800869ED}" type="presOf" srcId="{39313909-E3E0-4086-83C0-F109E8056274}" destId="{DBE7322E-33F4-48F4-A336-1342C2A195BF}" srcOrd="0" destOrd="0" presId="urn:microsoft.com/office/officeart/2008/layout/NameandTitleOrganizationalChart"/>
    <dgm:cxn modelId="{00ADA735-B92B-4F28-8D2F-1C306434BC32}" type="presOf" srcId="{0790522B-DA9D-45B2-95BC-44201238A60D}" destId="{B849D618-55B7-4054-B072-7A3DE5CFEAAA}" srcOrd="0" destOrd="0" presId="urn:microsoft.com/office/officeart/2008/layout/NameandTitleOrganizationalChart"/>
    <dgm:cxn modelId="{0E424D3C-42E1-4B83-848D-25E7B8E72877}" type="presOf" srcId="{FBDBEC64-09DE-4566-984A-0A068C9DEF51}" destId="{560E380B-46C5-4CBD-B6DF-CD8858640A1E}" srcOrd="0" destOrd="0" presId="urn:microsoft.com/office/officeart/2008/layout/NameandTitleOrganizationalChart"/>
    <dgm:cxn modelId="{8522245D-75F8-4DE5-BEA5-881CF5374134}" type="presOf" srcId="{1E55B51B-6C2B-4348-9747-54E11D32C10E}" destId="{F6E37732-3218-4E5C-9B57-2AAE8416A4D5}" srcOrd="1" destOrd="0" presId="urn:microsoft.com/office/officeart/2008/layout/NameandTitleOrganizationalChart"/>
    <dgm:cxn modelId="{34E84F5D-81B6-4ACA-8D4B-9E0840C49CDF}" type="presOf" srcId="{9C6C0D67-AEDB-4C60-9F3B-7AEA49EDEB8A}" destId="{78E0EB93-D3DE-4E03-A43D-1367834FDCDD}" srcOrd="0" destOrd="0" presId="urn:microsoft.com/office/officeart/2008/layout/NameandTitleOrganizationalChart"/>
    <dgm:cxn modelId="{E31F9666-7B1A-4C8A-9A6D-7E3C3ED29452}" type="presOf" srcId="{61F910B2-589F-4E21-8C0F-36B3727F8520}" destId="{2C42F879-A40D-46D6-8A46-CDAA9D00AEE1}" srcOrd="0" destOrd="0" presId="urn:microsoft.com/office/officeart/2008/layout/NameandTitleOrganizationalChart"/>
    <dgm:cxn modelId="{FC396848-2F0E-41C0-8D8C-07ECB4CFD771}" type="presOf" srcId="{8040B7DC-C299-4F5F-896C-7D1667AAEDC0}" destId="{1FC951CB-9652-4A57-985C-BADB08E8DFC7}" srcOrd="1" destOrd="0" presId="urn:microsoft.com/office/officeart/2008/layout/NameandTitleOrganizationalChart"/>
    <dgm:cxn modelId="{10FB4A54-1D85-4864-BC5D-2C7B60E536AE}" type="presOf" srcId="{0790522B-DA9D-45B2-95BC-44201238A60D}" destId="{0E35BDD4-0576-4359-B18D-BA3BA2830051}" srcOrd="1" destOrd="0" presId="urn:microsoft.com/office/officeart/2008/layout/NameandTitleOrganizationalChart"/>
    <dgm:cxn modelId="{D2E08576-017E-454B-9918-22A1A96C78B4}" type="presOf" srcId="{2762FDCF-0ECD-4F1B-A1A1-A08FCB5B9C2C}" destId="{29BD77CB-9359-4B4C-8CF5-8D58F803B734}" srcOrd="0" destOrd="0" presId="urn:microsoft.com/office/officeart/2008/layout/NameandTitleOrganizationalChart"/>
    <dgm:cxn modelId="{19D83A7D-900F-45A0-A632-636D84EE1126}" srcId="{9C6C0D67-AEDB-4C60-9F3B-7AEA49EDEB8A}" destId="{8FCAE792-4444-4F8A-9CC3-20E4F02199CD}" srcOrd="0" destOrd="0" parTransId="{F2E9ED34-73AC-495B-878D-3B706318B9D3}" sibTransId="{C9C4754C-9B75-4C83-BB55-D5CA09EB2067}"/>
    <dgm:cxn modelId="{34ACFC81-0763-4417-81AF-641DEE8272B3}" type="presOf" srcId="{8FCAE792-4444-4F8A-9CC3-20E4F02199CD}" destId="{E83E1B64-C5DF-4590-BE80-48B663BFB310}" srcOrd="0" destOrd="0" presId="urn:microsoft.com/office/officeart/2008/layout/NameandTitleOrganizationalChart"/>
    <dgm:cxn modelId="{4056248D-4E99-4319-AD76-3970A439328A}" type="presOf" srcId="{6C98BCEA-BF84-4AC9-8C7F-CF9C0B2457C1}" destId="{FABC89E4-BD26-4031-A469-9BD3F3C5573C}" srcOrd="0" destOrd="0" presId="urn:microsoft.com/office/officeart/2008/layout/NameandTitleOrganizationalChart"/>
    <dgm:cxn modelId="{B4128E91-23FE-419D-A12B-81AA6D5A36A3}" type="presOf" srcId="{255356BF-6E88-4355-8171-D94E718865FC}" destId="{C9158022-85B7-49A2-947E-CF99699F0958}" srcOrd="0" destOrd="0" presId="urn:microsoft.com/office/officeart/2008/layout/NameandTitleOrganizationalChart"/>
    <dgm:cxn modelId="{E75EE991-82E0-4A26-9A16-8D0D1483EF94}" type="presOf" srcId="{9DE80B81-506E-4E3B-B09E-08A863DB59E3}" destId="{A349959F-E530-4FEB-A889-9126A990ADB3}" srcOrd="0" destOrd="0" presId="urn:microsoft.com/office/officeart/2008/layout/NameandTitleOrganizationalChart"/>
    <dgm:cxn modelId="{A58D5097-DC12-4775-A108-971F592F64BE}" type="presOf" srcId="{C9C4754C-9B75-4C83-BB55-D5CA09EB2067}" destId="{874209AA-1534-4F3B-B5F5-EC545003A716}" srcOrd="0" destOrd="0" presId="urn:microsoft.com/office/officeart/2008/layout/NameandTitleOrganizationalChart"/>
    <dgm:cxn modelId="{5E64E899-1763-4032-814D-01CE588DFFB4}" type="presOf" srcId="{F8D764EB-C566-415D-8636-1EE4014B55D9}" destId="{4222E061-0ACF-476D-9CC3-3F9BE0779ACB}" srcOrd="0" destOrd="0" presId="urn:microsoft.com/office/officeart/2008/layout/NameandTitleOrganizationalChart"/>
    <dgm:cxn modelId="{20D418A3-69A2-4124-BA47-6DAC8F8138E9}" type="presOf" srcId="{020EACD8-62F5-43B8-8135-9D700F1086D7}" destId="{D7A1C4FD-AAAE-4BD8-A0D1-E8C218F8BE4B}" srcOrd="0" destOrd="0" presId="urn:microsoft.com/office/officeart/2008/layout/NameandTitleOrganizationalChart"/>
    <dgm:cxn modelId="{B4C71FAB-943D-4CEE-88E9-870834BC71B3}" srcId="{1E55B51B-6C2B-4348-9747-54E11D32C10E}" destId="{0790522B-DA9D-45B2-95BC-44201238A60D}" srcOrd="1" destOrd="0" parTransId="{255356BF-6E88-4355-8171-D94E718865FC}" sibTransId="{39313909-E3E0-4086-83C0-F109E8056274}"/>
    <dgm:cxn modelId="{BE9237AB-30EB-43EF-9225-DF5F24C5D1B8}" srcId="{8FCAE792-4444-4F8A-9CC3-20E4F02199CD}" destId="{1E55B51B-6C2B-4348-9747-54E11D32C10E}" srcOrd="2" destOrd="0" parTransId="{61F910B2-589F-4E21-8C0F-36B3727F8520}" sibTransId="{ECADABB7-5D9E-44D5-A75C-901DCD544036}"/>
    <dgm:cxn modelId="{FDAF47AC-B8F9-455F-B67A-E6AD7F0CBCD1}" srcId="{1E55B51B-6C2B-4348-9747-54E11D32C10E}" destId="{F8D764EB-C566-415D-8636-1EE4014B55D9}" srcOrd="0" destOrd="0" parTransId="{9DE80B81-506E-4E3B-B09E-08A863DB59E3}" sibTransId="{FBDBEC64-09DE-4566-984A-0A068C9DEF51}"/>
    <dgm:cxn modelId="{4F3EE0B8-3852-4D90-9F96-BB08B2AF320A}" type="presOf" srcId="{EDC08F4C-4CF2-45FE-B29B-7FBCA2554165}" destId="{4B50847B-6ECB-499D-9B4B-57B302A6DFF2}" srcOrd="0" destOrd="0" presId="urn:microsoft.com/office/officeart/2008/layout/NameandTitleOrganizationalChart"/>
    <dgm:cxn modelId="{993CCDBB-F05F-466B-9A15-8BEBFDA08AFD}" type="presOf" srcId="{84468BFC-EB0E-4D75-A41C-1077B69B8EEE}" destId="{870368A4-66C5-4CD7-9B38-3BF782242EF7}" srcOrd="0" destOrd="0" presId="urn:microsoft.com/office/officeart/2008/layout/NameandTitleOrganizationalChart"/>
    <dgm:cxn modelId="{92FBFCBC-E114-40B8-9B2F-99E4DE622AFA}" srcId="{8FCAE792-4444-4F8A-9CC3-20E4F02199CD}" destId="{6C98BCEA-BF84-4AC9-8C7F-CF9C0B2457C1}" srcOrd="1" destOrd="0" parTransId="{020EACD8-62F5-43B8-8135-9D700F1086D7}" sibTransId="{7B516EC9-88A3-4EF0-9B18-89CCD4F0A2E9}"/>
    <dgm:cxn modelId="{E9F0D4CB-9F94-4F5B-86C4-1DE9CE808292}" type="presOf" srcId="{8040B7DC-C299-4F5F-896C-7D1667AAEDC0}" destId="{A70AC101-F407-4C4C-9AEC-D87FD1E342A9}" srcOrd="0" destOrd="0" presId="urn:microsoft.com/office/officeart/2008/layout/NameandTitleOrganizationalChart"/>
    <dgm:cxn modelId="{5A74E2CE-2065-4486-A482-A54121ECDAA8}" type="presOf" srcId="{F8D764EB-C566-415D-8636-1EE4014B55D9}" destId="{C961B9C2-F48F-42B5-B8A9-C035C8E7CDA4}" srcOrd="1" destOrd="0" presId="urn:microsoft.com/office/officeart/2008/layout/NameandTitleOrganizationalChart"/>
    <dgm:cxn modelId="{28232FD1-EB8F-4226-9AE5-A78E19CA3D28}" type="presOf" srcId="{EBC96106-9246-4613-A940-96BEAB92741B}" destId="{6EA0065D-379C-495B-8C40-D079B2F1A889}" srcOrd="0" destOrd="0" presId="urn:microsoft.com/office/officeart/2008/layout/NameandTitleOrganizationalChart"/>
    <dgm:cxn modelId="{B9870DEE-3376-4161-9FA4-879C45EE358F}" type="presOf" srcId="{6C98BCEA-BF84-4AC9-8C7F-CF9C0B2457C1}" destId="{4A95FFD9-7B57-458B-AAE1-47887F34BA53}" srcOrd="1" destOrd="0" presId="urn:microsoft.com/office/officeart/2008/layout/NameandTitleOrganizationalChart"/>
    <dgm:cxn modelId="{D1DC8EEE-4D3C-494D-A9DB-F5112E3F2A0E}" type="presOf" srcId="{2418D5CA-672D-468A-9D31-47140EBEDF24}" destId="{DA7E53D6-E77F-4D44-9E75-06ED11F99F9B}" srcOrd="0" destOrd="0" presId="urn:microsoft.com/office/officeart/2008/layout/NameandTitleOrganizationalChart"/>
    <dgm:cxn modelId="{3F1163EF-5364-4C8E-BB52-5A7B1A3E567D}" srcId="{6C98BCEA-BF84-4AC9-8C7F-CF9C0B2457C1}" destId="{EDC08F4C-4CF2-45FE-B29B-7FBCA2554165}" srcOrd="0" destOrd="0" parTransId="{EBC96106-9246-4613-A940-96BEAB92741B}" sibTransId="{2418D5CA-672D-468A-9D31-47140EBEDF24}"/>
    <dgm:cxn modelId="{996BB2F3-0E3A-40DB-985A-89811F3E1A35}" type="presOf" srcId="{8FCAE792-4444-4F8A-9CC3-20E4F02199CD}" destId="{02A923D5-9C51-4E21-B12C-F395066968A1}" srcOrd="1" destOrd="0" presId="urn:microsoft.com/office/officeart/2008/layout/NameandTitleOrganizationalChart"/>
    <dgm:cxn modelId="{48D524A1-96D0-41AE-AE15-3DFCC4645677}" type="presParOf" srcId="{78E0EB93-D3DE-4E03-A43D-1367834FDCDD}" destId="{64DD1A36-5B28-42C6-895B-2357243D1CCA}" srcOrd="0" destOrd="0" presId="urn:microsoft.com/office/officeart/2008/layout/NameandTitleOrganizationalChart"/>
    <dgm:cxn modelId="{27504A04-8806-49B0-A247-4CF3D2CE7864}" type="presParOf" srcId="{64DD1A36-5B28-42C6-895B-2357243D1CCA}" destId="{FD6F31C2-25CD-4A4B-97F4-8B6A274FE0C5}" srcOrd="0" destOrd="0" presId="urn:microsoft.com/office/officeart/2008/layout/NameandTitleOrganizationalChart"/>
    <dgm:cxn modelId="{6D83091D-833D-4485-A1EA-2383263D13E6}" type="presParOf" srcId="{FD6F31C2-25CD-4A4B-97F4-8B6A274FE0C5}" destId="{E83E1B64-C5DF-4590-BE80-48B663BFB310}" srcOrd="0" destOrd="0" presId="urn:microsoft.com/office/officeart/2008/layout/NameandTitleOrganizationalChart"/>
    <dgm:cxn modelId="{BA8BA2A6-F114-40A5-94FA-0DAF87C3F256}" type="presParOf" srcId="{FD6F31C2-25CD-4A4B-97F4-8B6A274FE0C5}" destId="{874209AA-1534-4F3B-B5F5-EC545003A716}" srcOrd="1" destOrd="0" presId="urn:microsoft.com/office/officeart/2008/layout/NameandTitleOrganizationalChart"/>
    <dgm:cxn modelId="{AA5B3E2F-D4EE-4A7F-AA66-2C0F5F70645C}" type="presParOf" srcId="{FD6F31C2-25CD-4A4B-97F4-8B6A274FE0C5}" destId="{02A923D5-9C51-4E21-B12C-F395066968A1}" srcOrd="2" destOrd="0" presId="urn:microsoft.com/office/officeart/2008/layout/NameandTitleOrganizationalChart"/>
    <dgm:cxn modelId="{DE5E7CD4-DDA5-4D7B-B254-36C1338D1CA0}" type="presParOf" srcId="{64DD1A36-5B28-42C6-895B-2357243D1CCA}" destId="{14DF069D-0D8D-4CB5-A1D7-811135DAB9AA}" srcOrd="1" destOrd="0" presId="urn:microsoft.com/office/officeart/2008/layout/NameandTitleOrganizationalChart"/>
    <dgm:cxn modelId="{4E179CF8-13DE-41D3-8194-DD6C095189FD}" type="presParOf" srcId="{14DF069D-0D8D-4CB5-A1D7-811135DAB9AA}" destId="{29BD77CB-9359-4B4C-8CF5-8D58F803B734}" srcOrd="0" destOrd="0" presId="urn:microsoft.com/office/officeart/2008/layout/NameandTitleOrganizationalChart"/>
    <dgm:cxn modelId="{EFAE3627-8647-4914-87A7-63B1D803B4B7}" type="presParOf" srcId="{14DF069D-0D8D-4CB5-A1D7-811135DAB9AA}" destId="{A146E9CA-B47F-48DA-A9CD-C2E57DDC53AE}" srcOrd="1" destOrd="0" presId="urn:microsoft.com/office/officeart/2008/layout/NameandTitleOrganizationalChart"/>
    <dgm:cxn modelId="{D222CC7E-07D8-4B37-99B9-A9324DE6F8A6}" type="presParOf" srcId="{A146E9CA-B47F-48DA-A9CD-C2E57DDC53AE}" destId="{F16FE378-AA36-47F3-8606-725BF2A1FCE9}" srcOrd="0" destOrd="0" presId="urn:microsoft.com/office/officeart/2008/layout/NameandTitleOrganizationalChart"/>
    <dgm:cxn modelId="{1F8CBB46-2748-4753-8729-B072DBD07838}" type="presParOf" srcId="{F16FE378-AA36-47F3-8606-725BF2A1FCE9}" destId="{A70AC101-F407-4C4C-9AEC-D87FD1E342A9}" srcOrd="0" destOrd="0" presId="urn:microsoft.com/office/officeart/2008/layout/NameandTitleOrganizationalChart"/>
    <dgm:cxn modelId="{4C5317E5-FBFD-4B77-9FDF-0B8E1035FB6A}" type="presParOf" srcId="{F16FE378-AA36-47F3-8606-725BF2A1FCE9}" destId="{870368A4-66C5-4CD7-9B38-3BF782242EF7}" srcOrd="1" destOrd="0" presId="urn:microsoft.com/office/officeart/2008/layout/NameandTitleOrganizationalChart"/>
    <dgm:cxn modelId="{FFF8B319-8560-4BEE-9356-ECE4EB47F273}" type="presParOf" srcId="{F16FE378-AA36-47F3-8606-725BF2A1FCE9}" destId="{1FC951CB-9652-4A57-985C-BADB08E8DFC7}" srcOrd="2" destOrd="0" presId="urn:microsoft.com/office/officeart/2008/layout/NameandTitleOrganizationalChart"/>
    <dgm:cxn modelId="{0FB8236D-720B-4288-BF9B-BFC1A7BCB299}" type="presParOf" srcId="{A146E9CA-B47F-48DA-A9CD-C2E57DDC53AE}" destId="{416AEA1D-FB60-4706-8995-8ED06D42D838}" srcOrd="1" destOrd="0" presId="urn:microsoft.com/office/officeart/2008/layout/NameandTitleOrganizationalChart"/>
    <dgm:cxn modelId="{C4C87E9E-DD2C-4EC5-91A7-4920B94EEEA4}" type="presParOf" srcId="{A146E9CA-B47F-48DA-A9CD-C2E57DDC53AE}" destId="{88A27BBD-4B6D-47BA-964E-102804A65D2F}" srcOrd="2" destOrd="0" presId="urn:microsoft.com/office/officeart/2008/layout/NameandTitleOrganizationalChart"/>
    <dgm:cxn modelId="{B6DBA48A-7F37-4539-963C-98A1CE106296}" type="presParOf" srcId="{14DF069D-0D8D-4CB5-A1D7-811135DAB9AA}" destId="{D7A1C4FD-AAAE-4BD8-A0D1-E8C218F8BE4B}" srcOrd="2" destOrd="0" presId="urn:microsoft.com/office/officeart/2008/layout/NameandTitleOrganizationalChart"/>
    <dgm:cxn modelId="{A5A14539-06D3-4BD6-A766-EA0416419CA8}" type="presParOf" srcId="{14DF069D-0D8D-4CB5-A1D7-811135DAB9AA}" destId="{9CD3A797-82F8-443D-AB5F-B59A6BB13282}" srcOrd="3" destOrd="0" presId="urn:microsoft.com/office/officeart/2008/layout/NameandTitleOrganizationalChart"/>
    <dgm:cxn modelId="{1FF64246-48EE-4A35-A4F2-1BFDF01AD99C}" type="presParOf" srcId="{9CD3A797-82F8-443D-AB5F-B59A6BB13282}" destId="{E507CD8E-AF8F-4B8B-8E45-A9A7FB5A13B6}" srcOrd="0" destOrd="0" presId="urn:microsoft.com/office/officeart/2008/layout/NameandTitleOrganizationalChart"/>
    <dgm:cxn modelId="{489717C5-7083-40AC-855C-2906420F23C0}" type="presParOf" srcId="{E507CD8E-AF8F-4B8B-8E45-A9A7FB5A13B6}" destId="{FABC89E4-BD26-4031-A469-9BD3F3C5573C}" srcOrd="0" destOrd="0" presId="urn:microsoft.com/office/officeart/2008/layout/NameandTitleOrganizationalChart"/>
    <dgm:cxn modelId="{2BC2A5C7-829A-43F4-944B-2227C880039F}" type="presParOf" srcId="{E507CD8E-AF8F-4B8B-8E45-A9A7FB5A13B6}" destId="{18BEA2BD-67B4-4C86-867C-F3B51DD46527}" srcOrd="1" destOrd="0" presId="urn:microsoft.com/office/officeart/2008/layout/NameandTitleOrganizationalChart"/>
    <dgm:cxn modelId="{1F5DB86A-05F1-4EC9-998C-6A513E2389D7}" type="presParOf" srcId="{E507CD8E-AF8F-4B8B-8E45-A9A7FB5A13B6}" destId="{4A95FFD9-7B57-458B-AAE1-47887F34BA53}" srcOrd="2" destOrd="0" presId="urn:microsoft.com/office/officeart/2008/layout/NameandTitleOrganizationalChart"/>
    <dgm:cxn modelId="{D841E5DE-03F5-49D9-820E-DB2B1F6336D3}" type="presParOf" srcId="{9CD3A797-82F8-443D-AB5F-B59A6BB13282}" destId="{B2A4D300-E960-4EA5-AB58-A197FCD1B44D}" srcOrd="1" destOrd="0" presId="urn:microsoft.com/office/officeart/2008/layout/NameandTitleOrganizationalChart"/>
    <dgm:cxn modelId="{39757018-C642-4F9F-BE8D-4DB4845E785C}" type="presParOf" srcId="{B2A4D300-E960-4EA5-AB58-A197FCD1B44D}" destId="{6EA0065D-379C-495B-8C40-D079B2F1A889}" srcOrd="0" destOrd="0" presId="urn:microsoft.com/office/officeart/2008/layout/NameandTitleOrganizationalChart"/>
    <dgm:cxn modelId="{CBEFFC96-7257-4B91-BEC4-5C9924119F88}" type="presParOf" srcId="{B2A4D300-E960-4EA5-AB58-A197FCD1B44D}" destId="{0EB8B6A9-8B45-487B-8C64-77D77CA52FB9}" srcOrd="1" destOrd="0" presId="urn:microsoft.com/office/officeart/2008/layout/NameandTitleOrganizationalChart"/>
    <dgm:cxn modelId="{CE571DD3-B346-4494-8602-ACD8A67C302A}" type="presParOf" srcId="{0EB8B6A9-8B45-487B-8C64-77D77CA52FB9}" destId="{B1A31836-4423-4B66-8599-FFD0EEA3F829}" srcOrd="0" destOrd="0" presId="urn:microsoft.com/office/officeart/2008/layout/NameandTitleOrganizationalChart"/>
    <dgm:cxn modelId="{4E6BAAD8-1ED4-4103-9854-3B1E8FBADCD6}" type="presParOf" srcId="{B1A31836-4423-4B66-8599-FFD0EEA3F829}" destId="{4B50847B-6ECB-499D-9B4B-57B302A6DFF2}" srcOrd="0" destOrd="0" presId="urn:microsoft.com/office/officeart/2008/layout/NameandTitleOrganizationalChart"/>
    <dgm:cxn modelId="{BC04D4AD-8D4B-4AF1-BE16-68925F60B570}" type="presParOf" srcId="{B1A31836-4423-4B66-8599-FFD0EEA3F829}" destId="{DA7E53D6-E77F-4D44-9E75-06ED11F99F9B}" srcOrd="1" destOrd="0" presId="urn:microsoft.com/office/officeart/2008/layout/NameandTitleOrganizationalChart"/>
    <dgm:cxn modelId="{D72694A4-5CAA-4254-99B8-14A6720F6F38}" type="presParOf" srcId="{B1A31836-4423-4B66-8599-FFD0EEA3F829}" destId="{AC767415-6E48-4585-B698-4AAD55FD9972}" srcOrd="2" destOrd="0" presId="urn:microsoft.com/office/officeart/2008/layout/NameandTitleOrganizationalChart"/>
    <dgm:cxn modelId="{EB0E233A-D020-4E02-BAAF-8D705B140311}" type="presParOf" srcId="{0EB8B6A9-8B45-487B-8C64-77D77CA52FB9}" destId="{462B2A4F-1CCD-4AB8-A812-3FAD28197F0A}" srcOrd="1" destOrd="0" presId="urn:microsoft.com/office/officeart/2008/layout/NameandTitleOrganizationalChart"/>
    <dgm:cxn modelId="{CF21EB39-FF3A-4201-9E58-387DFCE020F0}" type="presParOf" srcId="{0EB8B6A9-8B45-487B-8C64-77D77CA52FB9}" destId="{661764D2-5D05-46FF-9390-DE499D0FAD6E}" srcOrd="2" destOrd="0" presId="urn:microsoft.com/office/officeart/2008/layout/NameandTitleOrganizationalChart"/>
    <dgm:cxn modelId="{A1306C5A-0374-4488-AE02-3A8CA467B7AD}" type="presParOf" srcId="{9CD3A797-82F8-443D-AB5F-B59A6BB13282}" destId="{FDCCE3E4-45A9-49EF-9C18-8728A7709AF5}" srcOrd="2" destOrd="0" presId="urn:microsoft.com/office/officeart/2008/layout/NameandTitleOrganizationalChart"/>
    <dgm:cxn modelId="{BD37B460-DD5A-49C3-A40F-42E22DDF3E54}" type="presParOf" srcId="{14DF069D-0D8D-4CB5-A1D7-811135DAB9AA}" destId="{2C42F879-A40D-46D6-8A46-CDAA9D00AEE1}" srcOrd="4" destOrd="0" presId="urn:microsoft.com/office/officeart/2008/layout/NameandTitleOrganizationalChart"/>
    <dgm:cxn modelId="{2D91A2D8-E4C8-48DD-9774-C150845CD309}" type="presParOf" srcId="{14DF069D-0D8D-4CB5-A1D7-811135DAB9AA}" destId="{C34492CE-BB17-4CFC-980F-AADDE64B9A4B}" srcOrd="5" destOrd="0" presId="urn:microsoft.com/office/officeart/2008/layout/NameandTitleOrganizationalChart"/>
    <dgm:cxn modelId="{0B8BC258-AC22-4A63-8F7F-02F5F833C688}" type="presParOf" srcId="{C34492CE-BB17-4CFC-980F-AADDE64B9A4B}" destId="{A4B7D76C-5208-4940-AA07-6CE37FA40C67}" srcOrd="0" destOrd="0" presId="urn:microsoft.com/office/officeart/2008/layout/NameandTitleOrganizationalChart"/>
    <dgm:cxn modelId="{FC0CDABE-4916-4C96-AC2B-9E7FDDB7E8A9}" type="presParOf" srcId="{A4B7D76C-5208-4940-AA07-6CE37FA40C67}" destId="{551B7BD8-393E-4A2B-97CF-1989B5EA8E5E}" srcOrd="0" destOrd="0" presId="urn:microsoft.com/office/officeart/2008/layout/NameandTitleOrganizationalChart"/>
    <dgm:cxn modelId="{990B93E6-1E7E-4C7B-947A-66ABEAE71FC0}" type="presParOf" srcId="{A4B7D76C-5208-4940-AA07-6CE37FA40C67}" destId="{B20053A6-1745-4C12-8A0F-AF03795C0E50}" srcOrd="1" destOrd="0" presId="urn:microsoft.com/office/officeart/2008/layout/NameandTitleOrganizationalChart"/>
    <dgm:cxn modelId="{E56540D0-DFAF-4127-88FB-B39204A84F50}" type="presParOf" srcId="{A4B7D76C-5208-4940-AA07-6CE37FA40C67}" destId="{F6E37732-3218-4E5C-9B57-2AAE8416A4D5}" srcOrd="2" destOrd="0" presId="urn:microsoft.com/office/officeart/2008/layout/NameandTitleOrganizationalChart"/>
    <dgm:cxn modelId="{01778302-9FE6-4DAB-A3CA-D7F6AB0B5310}" type="presParOf" srcId="{C34492CE-BB17-4CFC-980F-AADDE64B9A4B}" destId="{3AAC79B4-995A-41B3-A02B-58DF13FDC2C2}" srcOrd="1" destOrd="0" presId="urn:microsoft.com/office/officeart/2008/layout/NameandTitleOrganizationalChart"/>
    <dgm:cxn modelId="{D38D0691-E14C-41C2-99C4-C7E3640BF8C7}" type="presParOf" srcId="{3AAC79B4-995A-41B3-A02B-58DF13FDC2C2}" destId="{A349959F-E530-4FEB-A889-9126A990ADB3}" srcOrd="0" destOrd="0" presId="urn:microsoft.com/office/officeart/2008/layout/NameandTitleOrganizationalChart"/>
    <dgm:cxn modelId="{FCA94F6D-0F9A-4606-B76E-1ADC164659DB}" type="presParOf" srcId="{3AAC79B4-995A-41B3-A02B-58DF13FDC2C2}" destId="{4E619C90-4537-4ABF-91F4-58B42F8BE538}" srcOrd="1" destOrd="0" presId="urn:microsoft.com/office/officeart/2008/layout/NameandTitleOrganizationalChart"/>
    <dgm:cxn modelId="{1D8B0A2F-35DF-440F-8109-D5418CCA5E87}" type="presParOf" srcId="{4E619C90-4537-4ABF-91F4-58B42F8BE538}" destId="{C15FB8CB-06BE-4A3A-90EE-806AF30ECA4E}" srcOrd="0" destOrd="0" presId="urn:microsoft.com/office/officeart/2008/layout/NameandTitleOrganizationalChart"/>
    <dgm:cxn modelId="{E310DA22-FA6A-4854-A6FF-A67992BD9626}" type="presParOf" srcId="{C15FB8CB-06BE-4A3A-90EE-806AF30ECA4E}" destId="{4222E061-0ACF-476D-9CC3-3F9BE0779ACB}" srcOrd="0" destOrd="0" presId="urn:microsoft.com/office/officeart/2008/layout/NameandTitleOrganizationalChart"/>
    <dgm:cxn modelId="{CD2DD93F-32EE-4D2C-B90E-0FD38DA2609A}" type="presParOf" srcId="{C15FB8CB-06BE-4A3A-90EE-806AF30ECA4E}" destId="{560E380B-46C5-4CBD-B6DF-CD8858640A1E}" srcOrd="1" destOrd="0" presId="urn:microsoft.com/office/officeart/2008/layout/NameandTitleOrganizationalChart"/>
    <dgm:cxn modelId="{EB04032C-3181-4BBD-8647-FD87790618A2}" type="presParOf" srcId="{C15FB8CB-06BE-4A3A-90EE-806AF30ECA4E}" destId="{C961B9C2-F48F-42B5-B8A9-C035C8E7CDA4}" srcOrd="2" destOrd="0" presId="urn:microsoft.com/office/officeart/2008/layout/NameandTitleOrganizationalChart"/>
    <dgm:cxn modelId="{20A41481-9DF7-4940-9A91-F79074A9BA17}" type="presParOf" srcId="{4E619C90-4537-4ABF-91F4-58B42F8BE538}" destId="{6079369B-7FCC-4F6A-9DB7-BA5F6AEFABD7}" srcOrd="1" destOrd="0" presId="urn:microsoft.com/office/officeart/2008/layout/NameandTitleOrganizationalChart"/>
    <dgm:cxn modelId="{71E957E2-4C1D-4F42-976A-6A5C986B74B7}" type="presParOf" srcId="{4E619C90-4537-4ABF-91F4-58B42F8BE538}" destId="{0DF9FA11-73F7-481A-A021-E081ED3C5D89}" srcOrd="2" destOrd="0" presId="urn:microsoft.com/office/officeart/2008/layout/NameandTitleOrganizationalChart"/>
    <dgm:cxn modelId="{9CB116EF-F205-404C-B906-627B04C2134D}" type="presParOf" srcId="{3AAC79B4-995A-41B3-A02B-58DF13FDC2C2}" destId="{C9158022-85B7-49A2-947E-CF99699F0958}" srcOrd="2" destOrd="0" presId="urn:microsoft.com/office/officeart/2008/layout/NameandTitleOrganizationalChart"/>
    <dgm:cxn modelId="{2C72AD85-3FA5-499C-9361-B76563DF20DF}" type="presParOf" srcId="{3AAC79B4-995A-41B3-A02B-58DF13FDC2C2}" destId="{89553465-9E00-4EAF-B84F-A974548A230F}" srcOrd="3" destOrd="0" presId="urn:microsoft.com/office/officeart/2008/layout/NameandTitleOrganizationalChart"/>
    <dgm:cxn modelId="{18C737E7-543D-4361-9420-AC65E37CE9AC}" type="presParOf" srcId="{89553465-9E00-4EAF-B84F-A974548A230F}" destId="{89FA2BFA-B48B-4151-81AD-1A6A8BD6C370}" srcOrd="0" destOrd="0" presId="urn:microsoft.com/office/officeart/2008/layout/NameandTitleOrganizationalChart"/>
    <dgm:cxn modelId="{D61ACBC4-DBAB-43B3-BD64-303141CF838D}" type="presParOf" srcId="{89FA2BFA-B48B-4151-81AD-1A6A8BD6C370}" destId="{B849D618-55B7-4054-B072-7A3DE5CFEAAA}" srcOrd="0" destOrd="0" presId="urn:microsoft.com/office/officeart/2008/layout/NameandTitleOrganizationalChart"/>
    <dgm:cxn modelId="{B0F681B7-243A-4EFE-A11B-6920C5E4FD9E}" type="presParOf" srcId="{89FA2BFA-B48B-4151-81AD-1A6A8BD6C370}" destId="{DBE7322E-33F4-48F4-A336-1342C2A195BF}" srcOrd="1" destOrd="0" presId="urn:microsoft.com/office/officeart/2008/layout/NameandTitleOrganizationalChart"/>
    <dgm:cxn modelId="{EBCA18A4-14D8-4CB8-895E-5BA1DFF2CC02}" type="presParOf" srcId="{89FA2BFA-B48B-4151-81AD-1A6A8BD6C370}" destId="{0E35BDD4-0576-4359-B18D-BA3BA2830051}" srcOrd="2" destOrd="0" presId="urn:microsoft.com/office/officeart/2008/layout/NameandTitleOrganizationalChart"/>
    <dgm:cxn modelId="{100E3E93-5B77-42DE-A617-FB21659AF83D}" type="presParOf" srcId="{89553465-9E00-4EAF-B84F-A974548A230F}" destId="{FA6963C6-4F06-40A2-AAB1-455BEF4782B6}" srcOrd="1" destOrd="0" presId="urn:microsoft.com/office/officeart/2008/layout/NameandTitleOrganizationalChart"/>
    <dgm:cxn modelId="{979BBB90-94E6-4A89-BFE0-2D2EBE06AC55}" type="presParOf" srcId="{89553465-9E00-4EAF-B84F-A974548A230F}" destId="{0652EFCA-6F40-40FB-83A8-3C70F78EA857}" srcOrd="2" destOrd="0" presId="urn:microsoft.com/office/officeart/2008/layout/NameandTitleOrganizationalChart"/>
    <dgm:cxn modelId="{06F4FB71-6521-42F8-8F41-1F2F73EAFF63}" type="presParOf" srcId="{C34492CE-BB17-4CFC-980F-AADDE64B9A4B}" destId="{71E5FEF3-B8E2-4C52-B2C4-E87831A15F97}" srcOrd="2" destOrd="0" presId="urn:microsoft.com/office/officeart/2008/layout/NameandTitleOrganizationalChart"/>
    <dgm:cxn modelId="{6A622A66-66CC-4A9B-BBBA-B91F4B88C42D}" type="presParOf" srcId="{64DD1A36-5B28-42C6-895B-2357243D1CCA}" destId="{C5860F89-5C3B-4F2A-8547-555AF91587C0}" srcOrd="2" destOrd="0" presId="urn:microsoft.com/office/officeart/2008/layout/NameandTitleOrganizationalChar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9611B28-1476-4363-91E4-7C47A8E5D14B}">
      <dsp:nvSpPr>
        <dsp:cNvPr id="0" name=""/>
        <dsp:cNvSpPr/>
      </dsp:nvSpPr>
      <dsp:spPr>
        <a:xfrm>
          <a:off x="3447046" y="446296"/>
          <a:ext cx="1765276" cy="11768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 prst="softRound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E06 Director FMS and SGS </a:t>
          </a:r>
        </a:p>
      </dsp:txBody>
      <dsp:txXfrm>
        <a:off x="3481515" y="480765"/>
        <a:ext cx="1696338" cy="1107913"/>
      </dsp:txXfrm>
    </dsp:sp>
    <dsp:sp modelId="{B6EAAEFE-EDE7-4CAE-8D55-F670ACEA95DE}">
      <dsp:nvSpPr>
        <dsp:cNvPr id="0" name=""/>
        <dsp:cNvSpPr/>
      </dsp:nvSpPr>
      <dsp:spPr>
        <a:xfrm>
          <a:off x="887395" y="1623147"/>
          <a:ext cx="3442289" cy="470740"/>
        </a:xfrm>
        <a:custGeom>
          <a:avLst/>
          <a:gdLst/>
          <a:ahLst/>
          <a:cxnLst/>
          <a:rect l="0" t="0" r="0" b="0"/>
          <a:pathLst>
            <a:path>
              <a:moveTo>
                <a:pt x="3442289" y="0"/>
              </a:moveTo>
              <a:lnTo>
                <a:pt x="3442289" y="235370"/>
              </a:lnTo>
              <a:lnTo>
                <a:pt x="0" y="235370"/>
              </a:lnTo>
              <a:lnTo>
                <a:pt x="0" y="470740"/>
              </a:lnTo>
            </a:path>
          </a:pathLst>
        </a:cu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>
          <a:bevelT w="152400" h="50800" prst="softRound"/>
          <a:bevelB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D42F89-6B96-4DB5-9623-599BA94169D3}">
      <dsp:nvSpPr>
        <dsp:cNvPr id="0" name=""/>
        <dsp:cNvSpPr/>
      </dsp:nvSpPr>
      <dsp:spPr>
        <a:xfrm>
          <a:off x="4756" y="2093888"/>
          <a:ext cx="1765276" cy="1176851"/>
        </a:xfrm>
        <a:prstGeom prst="roundRect">
          <a:avLst>
            <a:gd name="adj" fmla="val 10000"/>
          </a:avLst>
        </a:prstGeom>
        <a:solidFill>
          <a:schemeClr val="accent2">
            <a:lumMod val="75000"/>
          </a:schemeClr>
        </a:solidFill>
        <a:ln>
          <a:solidFill>
            <a:schemeClr val="tx1">
              <a:lumMod val="20000"/>
              <a:lumOff val="80000"/>
            </a:schemeClr>
          </a:solidFill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 prst="softRound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E05 Sr Maintenance Manager </a:t>
          </a:r>
        </a:p>
      </dsp:txBody>
      <dsp:txXfrm>
        <a:off x="39225" y="2128357"/>
        <a:ext cx="1696338" cy="1107913"/>
      </dsp:txXfrm>
    </dsp:sp>
    <dsp:sp modelId="{70201EAB-E32E-405C-8E00-3B4D7ECF990C}">
      <dsp:nvSpPr>
        <dsp:cNvPr id="0" name=""/>
        <dsp:cNvSpPr/>
      </dsp:nvSpPr>
      <dsp:spPr>
        <a:xfrm>
          <a:off x="3182254" y="1623147"/>
          <a:ext cx="1147429" cy="470740"/>
        </a:xfrm>
        <a:custGeom>
          <a:avLst/>
          <a:gdLst/>
          <a:ahLst/>
          <a:cxnLst/>
          <a:rect l="0" t="0" r="0" b="0"/>
          <a:pathLst>
            <a:path>
              <a:moveTo>
                <a:pt x="1147429" y="0"/>
              </a:moveTo>
              <a:lnTo>
                <a:pt x="1147429" y="235370"/>
              </a:lnTo>
              <a:lnTo>
                <a:pt x="0" y="235370"/>
              </a:lnTo>
              <a:lnTo>
                <a:pt x="0" y="470740"/>
              </a:lnTo>
            </a:path>
          </a:pathLst>
        </a:cu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>
          <a:bevelT w="152400" h="50800" prst="softRound"/>
          <a:bevelB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9171175-B6B6-446A-8EEE-BAAAC5675FD0}">
      <dsp:nvSpPr>
        <dsp:cNvPr id="0" name=""/>
        <dsp:cNvSpPr/>
      </dsp:nvSpPr>
      <dsp:spPr>
        <a:xfrm>
          <a:off x="2299616" y="2093888"/>
          <a:ext cx="1765276" cy="1176851"/>
        </a:xfrm>
        <a:prstGeom prst="roundRect">
          <a:avLst>
            <a:gd name="adj" fmla="val 10000"/>
          </a:avLst>
        </a:prstGeom>
        <a:solidFill>
          <a:srgbClr val="170D67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 prst="softRound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E05 Sr Manager SG Operations</a:t>
          </a:r>
        </a:p>
      </dsp:txBody>
      <dsp:txXfrm>
        <a:off x="2334085" y="2128357"/>
        <a:ext cx="1696338" cy="1107913"/>
      </dsp:txXfrm>
    </dsp:sp>
    <dsp:sp modelId="{B67FAFC3-2241-4333-B34C-D5FFA6236740}">
      <dsp:nvSpPr>
        <dsp:cNvPr id="0" name=""/>
        <dsp:cNvSpPr/>
      </dsp:nvSpPr>
      <dsp:spPr>
        <a:xfrm>
          <a:off x="4329684" y="1623147"/>
          <a:ext cx="1147429" cy="47074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5370"/>
              </a:lnTo>
              <a:lnTo>
                <a:pt x="1147429" y="235370"/>
              </a:lnTo>
              <a:lnTo>
                <a:pt x="1147429" y="470740"/>
              </a:lnTo>
            </a:path>
          </a:pathLst>
        </a:cu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E2B2F78-CFEB-4B72-AF2B-A90834926F48}">
      <dsp:nvSpPr>
        <dsp:cNvPr id="0" name=""/>
        <dsp:cNvSpPr/>
      </dsp:nvSpPr>
      <dsp:spPr>
        <a:xfrm>
          <a:off x="4594475" y="2093888"/>
          <a:ext cx="1765276" cy="1176851"/>
        </a:xfrm>
        <a:prstGeom prst="roundRect">
          <a:avLst>
            <a:gd name="adj" fmla="val 10000"/>
          </a:avLst>
        </a:prstGeom>
        <a:solidFill>
          <a:srgbClr val="170D67"/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 prst="softRound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Administrative Assistant</a:t>
          </a:r>
        </a:p>
      </dsp:txBody>
      <dsp:txXfrm>
        <a:off x="4628944" y="2128357"/>
        <a:ext cx="1696338" cy="1107913"/>
      </dsp:txXfrm>
    </dsp:sp>
    <dsp:sp modelId="{4032D19E-1A44-4244-8CA6-07707AF364FB}">
      <dsp:nvSpPr>
        <dsp:cNvPr id="0" name=""/>
        <dsp:cNvSpPr/>
      </dsp:nvSpPr>
      <dsp:spPr>
        <a:xfrm>
          <a:off x="4329684" y="1623147"/>
          <a:ext cx="3442289" cy="47074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35370"/>
              </a:lnTo>
              <a:lnTo>
                <a:pt x="3442289" y="235370"/>
              </a:lnTo>
              <a:lnTo>
                <a:pt x="3442289" y="470740"/>
              </a:lnTo>
            </a:path>
          </a:pathLst>
        </a:cu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>
          <a:bevelT w="152400" h="50800" prst="softRound"/>
          <a:bevelB/>
        </a:sp3d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2805A89-23B9-446E-BD6B-6869FEC86AC7}">
      <dsp:nvSpPr>
        <dsp:cNvPr id="0" name=""/>
        <dsp:cNvSpPr/>
      </dsp:nvSpPr>
      <dsp:spPr>
        <a:xfrm>
          <a:off x="6889335" y="2093888"/>
          <a:ext cx="1765276" cy="1176851"/>
        </a:xfrm>
        <a:prstGeom prst="roundRect">
          <a:avLst>
            <a:gd name="adj" fmla="val 10000"/>
          </a:avLst>
        </a:prstGeom>
        <a:solidFill>
          <a:schemeClr val="accent4">
            <a:lumMod val="7500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 prst="softRound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E05 Sr </a:t>
          </a:r>
          <a:r>
            <a:rPr lang="en-US" sz="1600" kern="1200" dirty="0" err="1"/>
            <a:t>Mgr</a:t>
          </a:r>
          <a:r>
            <a:rPr lang="en-US" sz="1600" kern="1200" dirty="0"/>
            <a:t> SG </a:t>
          </a:r>
          <a:r>
            <a:rPr lang="en-US" sz="1600" kern="1200" dirty="0" err="1"/>
            <a:t>Operatons</a:t>
          </a:r>
          <a:r>
            <a:rPr lang="en-US" sz="1600" kern="1200" dirty="0"/>
            <a:t>  </a:t>
          </a:r>
        </a:p>
      </dsp:txBody>
      <dsp:txXfrm>
        <a:off x="6923804" y="2128357"/>
        <a:ext cx="1696338" cy="110791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9C7847-D2AE-47F0-A6B1-D02695931D24}">
      <dsp:nvSpPr>
        <dsp:cNvPr id="0" name=""/>
        <dsp:cNvSpPr/>
      </dsp:nvSpPr>
      <dsp:spPr>
        <a:xfrm>
          <a:off x="6580584" y="2058956"/>
          <a:ext cx="91440" cy="822244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822244"/>
              </a:lnTo>
              <a:lnTo>
                <a:pt x="82332" y="822244"/>
              </a:lnTo>
            </a:path>
          </a:pathLst>
        </a:custGeom>
        <a:noFill/>
        <a:ln w="12700" cap="sq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560E787-2870-4DD1-AFD9-C154212AEC21}">
      <dsp:nvSpPr>
        <dsp:cNvPr id="0" name=""/>
        <dsp:cNvSpPr/>
      </dsp:nvSpPr>
      <dsp:spPr>
        <a:xfrm>
          <a:off x="4069457" y="866530"/>
          <a:ext cx="3228636" cy="3526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6344"/>
              </a:lnTo>
              <a:lnTo>
                <a:pt x="3228636" y="176344"/>
              </a:lnTo>
              <a:lnTo>
                <a:pt x="3228636" y="352689"/>
              </a:lnTo>
            </a:path>
          </a:pathLst>
        </a:cu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203F7CA-D0AE-41F9-A5B7-8DC8C9A68590}">
      <dsp:nvSpPr>
        <dsp:cNvPr id="0" name=""/>
        <dsp:cNvSpPr/>
      </dsp:nvSpPr>
      <dsp:spPr>
        <a:xfrm>
          <a:off x="4233357" y="2058956"/>
          <a:ext cx="231548" cy="158485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84851"/>
              </a:lnTo>
              <a:lnTo>
                <a:pt x="231548" y="1584851"/>
              </a:lnTo>
            </a:path>
          </a:pathLst>
        </a:custGeom>
        <a:noFill/>
        <a:ln w="12700" cap="sq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5C94CC0-2CBA-4C47-87F3-76A6D7641C8B}">
      <dsp:nvSpPr>
        <dsp:cNvPr id="0" name=""/>
        <dsp:cNvSpPr/>
      </dsp:nvSpPr>
      <dsp:spPr>
        <a:xfrm>
          <a:off x="4069457" y="866530"/>
          <a:ext cx="835689" cy="35268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76344"/>
              </a:lnTo>
              <a:lnTo>
                <a:pt x="835689" y="176344"/>
              </a:lnTo>
              <a:lnTo>
                <a:pt x="835689" y="352689"/>
              </a:lnTo>
            </a:path>
          </a:pathLst>
        </a:cu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AD46B4-FEE7-4576-88C3-4446DC1D17B5}">
      <dsp:nvSpPr>
        <dsp:cNvPr id="0" name=""/>
        <dsp:cNvSpPr/>
      </dsp:nvSpPr>
      <dsp:spPr>
        <a:xfrm>
          <a:off x="2201194" y="2058956"/>
          <a:ext cx="199336" cy="80957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809573"/>
              </a:lnTo>
              <a:lnTo>
                <a:pt x="199336" y="809573"/>
              </a:lnTo>
            </a:path>
          </a:pathLst>
        </a:custGeom>
        <a:noFill/>
        <a:ln w="12700" cap="sq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987E22C-C49B-4CB9-B5F6-03ECD093BCE3}">
      <dsp:nvSpPr>
        <dsp:cNvPr id="0" name=""/>
        <dsp:cNvSpPr/>
      </dsp:nvSpPr>
      <dsp:spPr>
        <a:xfrm>
          <a:off x="2872984" y="866530"/>
          <a:ext cx="1196473" cy="352689"/>
        </a:xfrm>
        <a:custGeom>
          <a:avLst/>
          <a:gdLst/>
          <a:ahLst/>
          <a:cxnLst/>
          <a:rect l="0" t="0" r="0" b="0"/>
          <a:pathLst>
            <a:path>
              <a:moveTo>
                <a:pt x="1196473" y="0"/>
              </a:moveTo>
              <a:lnTo>
                <a:pt x="1196473" y="176344"/>
              </a:lnTo>
              <a:lnTo>
                <a:pt x="0" y="176344"/>
              </a:lnTo>
              <a:lnTo>
                <a:pt x="0" y="352689"/>
              </a:lnTo>
            </a:path>
          </a:pathLst>
        </a:cu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686D08-B899-4FE4-9198-53B863ABF79F}">
      <dsp:nvSpPr>
        <dsp:cNvPr id="0" name=""/>
        <dsp:cNvSpPr/>
      </dsp:nvSpPr>
      <dsp:spPr>
        <a:xfrm>
          <a:off x="167947" y="2051188"/>
          <a:ext cx="253005" cy="78032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780325"/>
              </a:lnTo>
              <a:lnTo>
                <a:pt x="253005" y="780325"/>
              </a:lnTo>
            </a:path>
          </a:pathLst>
        </a:custGeom>
        <a:noFill/>
        <a:ln w="12700" cap="sq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A4FE65-DA4C-49DF-9778-FDAF9B9A1A80}">
      <dsp:nvSpPr>
        <dsp:cNvPr id="0" name=""/>
        <dsp:cNvSpPr/>
      </dsp:nvSpPr>
      <dsp:spPr>
        <a:xfrm>
          <a:off x="839736" y="866530"/>
          <a:ext cx="3229721" cy="344921"/>
        </a:xfrm>
        <a:custGeom>
          <a:avLst/>
          <a:gdLst/>
          <a:ahLst/>
          <a:cxnLst/>
          <a:rect l="0" t="0" r="0" b="0"/>
          <a:pathLst>
            <a:path>
              <a:moveTo>
                <a:pt x="3229721" y="0"/>
              </a:moveTo>
              <a:lnTo>
                <a:pt x="3229721" y="168577"/>
              </a:lnTo>
              <a:lnTo>
                <a:pt x="0" y="168577"/>
              </a:lnTo>
              <a:lnTo>
                <a:pt x="0" y="344921"/>
              </a:lnTo>
            </a:path>
          </a:pathLst>
        </a:cu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0212043-6178-40F4-BD51-459C813622E0}">
      <dsp:nvSpPr>
        <dsp:cNvPr id="0" name=""/>
        <dsp:cNvSpPr/>
      </dsp:nvSpPr>
      <dsp:spPr>
        <a:xfrm>
          <a:off x="3229721" y="26793"/>
          <a:ext cx="1679473" cy="83973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E05 Sr Manager Advanced Grid Ops/Analytic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Glen Murphy </a:t>
          </a:r>
        </a:p>
      </dsp:txBody>
      <dsp:txXfrm>
        <a:off x="3229721" y="26793"/>
        <a:ext cx="1679473" cy="839736"/>
      </dsp:txXfrm>
    </dsp:sp>
    <dsp:sp modelId="{8AF8D746-D153-4B5E-A667-7E0020A3D6C3}">
      <dsp:nvSpPr>
        <dsp:cNvPr id="0" name=""/>
        <dsp:cNvSpPr/>
      </dsp:nvSpPr>
      <dsp:spPr>
        <a:xfrm>
          <a:off x="0" y="1211452"/>
          <a:ext cx="1679473" cy="83973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E04 </a:t>
          </a:r>
          <a:r>
            <a:rPr lang="en-US" sz="1000" kern="1200" dirty="0" err="1"/>
            <a:t>Mgr</a:t>
          </a:r>
          <a:r>
            <a:rPr lang="en-US" sz="1000" kern="1200" dirty="0"/>
            <a:t> Analytic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 dirty="0"/>
        </a:p>
      </dsp:txBody>
      <dsp:txXfrm>
        <a:off x="0" y="1211452"/>
        <a:ext cx="1679473" cy="839736"/>
      </dsp:txXfrm>
    </dsp:sp>
    <dsp:sp modelId="{A8F06774-3ABF-4C96-8128-0A575B426526}">
      <dsp:nvSpPr>
        <dsp:cNvPr id="0" name=""/>
        <dsp:cNvSpPr/>
      </dsp:nvSpPr>
      <dsp:spPr>
        <a:xfrm>
          <a:off x="420953" y="2411645"/>
          <a:ext cx="1679473" cy="83973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1 Bus Analyst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2 Sr Quantitative Analyst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2 Sr Business Analyst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1 Assoc Business Analyst  </a:t>
          </a:r>
        </a:p>
      </dsp:txBody>
      <dsp:txXfrm>
        <a:off x="420953" y="2411645"/>
        <a:ext cx="1679473" cy="839736"/>
      </dsp:txXfrm>
    </dsp:sp>
    <dsp:sp modelId="{AD34E6C8-F7E4-48B6-BDFC-F698DCC6A439}">
      <dsp:nvSpPr>
        <dsp:cNvPr id="0" name=""/>
        <dsp:cNvSpPr/>
      </dsp:nvSpPr>
      <dsp:spPr>
        <a:xfrm>
          <a:off x="2033247" y="1219219"/>
          <a:ext cx="1679473" cy="83973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E04 </a:t>
          </a:r>
          <a:r>
            <a:rPr lang="en-US" sz="1000" kern="1200" dirty="0" err="1"/>
            <a:t>Mgr</a:t>
          </a:r>
          <a:r>
            <a:rPr lang="en-US" sz="1000" kern="1200" dirty="0"/>
            <a:t> SG Ops &amp; Special Projects </a:t>
          </a:r>
        </a:p>
      </dsp:txBody>
      <dsp:txXfrm>
        <a:off x="2033247" y="1219219"/>
        <a:ext cx="1679473" cy="839736"/>
      </dsp:txXfrm>
    </dsp:sp>
    <dsp:sp modelId="{99F03290-0B36-4F4E-9671-E5642ACC540C}">
      <dsp:nvSpPr>
        <dsp:cNvPr id="0" name=""/>
        <dsp:cNvSpPr/>
      </dsp:nvSpPr>
      <dsp:spPr>
        <a:xfrm>
          <a:off x="2400531" y="2448661"/>
          <a:ext cx="1679473" cy="83973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1 AMI Ops Supervisor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2 Sr Business Analysts </a:t>
          </a:r>
        </a:p>
      </dsp:txBody>
      <dsp:txXfrm>
        <a:off x="2400531" y="2448661"/>
        <a:ext cx="1679473" cy="839736"/>
      </dsp:txXfrm>
    </dsp:sp>
    <dsp:sp modelId="{3F521123-CE16-4FFD-BFD7-A421B98F9099}">
      <dsp:nvSpPr>
        <dsp:cNvPr id="0" name=""/>
        <dsp:cNvSpPr/>
      </dsp:nvSpPr>
      <dsp:spPr>
        <a:xfrm>
          <a:off x="4065410" y="1219219"/>
          <a:ext cx="1679473" cy="83973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E04 Meter Maintenance Back Office </a:t>
          </a:r>
        </a:p>
      </dsp:txBody>
      <dsp:txXfrm>
        <a:off x="4065410" y="1219219"/>
        <a:ext cx="1679473" cy="839736"/>
      </dsp:txXfrm>
    </dsp:sp>
    <dsp:sp modelId="{69A59E50-E32B-4BFD-9260-0B6F2530763A}">
      <dsp:nvSpPr>
        <dsp:cNvPr id="0" name=""/>
        <dsp:cNvSpPr/>
      </dsp:nvSpPr>
      <dsp:spPr>
        <a:xfrm>
          <a:off x="4464906" y="2412611"/>
          <a:ext cx="2040257" cy="246239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1 E02 Work Planner (Accenture) – A. Wilson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rgbClr val="FF8300"/>
              </a:solidFill>
            </a:rPr>
            <a:t>(14) Offshore Accenture Contractors</a:t>
          </a:r>
          <a:endParaRPr lang="en-US" sz="1000" kern="1200" dirty="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 dirty="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1 MM Back Office supervisor- N. Panetta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(4)- Business Analyst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(4) – Associate Business Analyst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rgbClr val="FF8300"/>
              </a:solidFill>
            </a:rPr>
            <a:t>(2) Long Term MM back-office Contractors </a:t>
          </a:r>
          <a:endParaRPr lang="en-US" sz="1000" kern="1200" dirty="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1 Rev Pro Back Office Supervisor- M. Salahuddin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(2) Business Analyst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(4) Associate Business Analyst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(2) U12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000" kern="1200" dirty="0"/>
        </a:p>
      </dsp:txBody>
      <dsp:txXfrm>
        <a:off x="4464906" y="2412611"/>
        <a:ext cx="2040257" cy="2462393"/>
      </dsp:txXfrm>
    </dsp:sp>
    <dsp:sp modelId="{B68BAA31-37D6-48E9-9AD5-D87960D1E60F}">
      <dsp:nvSpPr>
        <dsp:cNvPr id="0" name=""/>
        <dsp:cNvSpPr/>
      </dsp:nvSpPr>
      <dsp:spPr>
        <a:xfrm>
          <a:off x="6458357" y="1219219"/>
          <a:ext cx="1679473" cy="83973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E04 Principal Business Analyst  </a:t>
          </a:r>
        </a:p>
      </dsp:txBody>
      <dsp:txXfrm>
        <a:off x="6458357" y="1219219"/>
        <a:ext cx="1679473" cy="839736"/>
      </dsp:txXfrm>
    </dsp:sp>
    <dsp:sp modelId="{CD84DD96-083E-48E4-BB7D-77777F458979}">
      <dsp:nvSpPr>
        <dsp:cNvPr id="0" name=""/>
        <dsp:cNvSpPr/>
      </dsp:nvSpPr>
      <dsp:spPr>
        <a:xfrm>
          <a:off x="6662917" y="2461333"/>
          <a:ext cx="1679473" cy="839736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1 Sr. Business Analyst—Vendor Manager—N. Nayee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1 Sr. Contract Coordinator—TBD</a:t>
          </a:r>
        </a:p>
      </dsp:txBody>
      <dsp:txXfrm>
        <a:off x="6662917" y="2461333"/>
        <a:ext cx="1679473" cy="839736"/>
      </dsp:txXfrm>
    </dsp:sp>
    <dsp:sp modelId="{13AE39B5-C5E0-40EE-BF1D-7F86EB2FD11E}">
      <dsp:nvSpPr>
        <dsp:cNvPr id="0" name=""/>
        <dsp:cNvSpPr/>
      </dsp:nvSpPr>
      <dsp:spPr>
        <a:xfrm>
          <a:off x="2393595" y="3520165"/>
          <a:ext cx="1679473" cy="96282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1 Business Analyst—B. Enz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1 Assoc. Business Analyst —V. Elliot                                        </a:t>
          </a:r>
          <a:r>
            <a:rPr lang="en-US" sz="1000" kern="1200" dirty="0">
              <a:solidFill>
                <a:srgbClr val="FFC000"/>
              </a:solidFill>
            </a:rPr>
            <a:t>(4) Back office Contractors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>
              <a:solidFill>
                <a:srgbClr val="FFC000"/>
              </a:solidFill>
            </a:rPr>
            <a:t>(2) CCB Contractors until 6/2024</a:t>
          </a:r>
        </a:p>
      </dsp:txBody>
      <dsp:txXfrm>
        <a:off x="2393595" y="3520165"/>
        <a:ext cx="1679473" cy="96282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87E22C-C49B-4CB9-B5F6-03ECD093BCE3}">
      <dsp:nvSpPr>
        <dsp:cNvPr id="0" name=""/>
        <dsp:cNvSpPr/>
      </dsp:nvSpPr>
      <dsp:spPr>
        <a:xfrm>
          <a:off x="4017645" y="739792"/>
          <a:ext cx="3282906" cy="30742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3714"/>
              </a:lnTo>
              <a:lnTo>
                <a:pt x="3282906" y="153714"/>
              </a:lnTo>
              <a:lnTo>
                <a:pt x="3282906" y="307429"/>
              </a:lnTo>
            </a:path>
          </a:pathLst>
        </a:cu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613E3CC-82ED-4B14-A686-62709BD44E0B}">
      <dsp:nvSpPr>
        <dsp:cNvPr id="0" name=""/>
        <dsp:cNvSpPr/>
      </dsp:nvSpPr>
      <dsp:spPr>
        <a:xfrm>
          <a:off x="5507682" y="1773824"/>
          <a:ext cx="907180" cy="312802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59087"/>
              </a:lnTo>
              <a:lnTo>
                <a:pt x="907180" y="159087"/>
              </a:lnTo>
              <a:lnTo>
                <a:pt x="907180" y="312802"/>
              </a:lnTo>
            </a:path>
          </a:pathLst>
        </a:custGeom>
        <a:noFill/>
        <a:ln w="12700" cap="sq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AB9D4D-8C94-46E4-A30A-6DC9318292C2}">
      <dsp:nvSpPr>
        <dsp:cNvPr id="0" name=""/>
        <dsp:cNvSpPr/>
      </dsp:nvSpPr>
      <dsp:spPr>
        <a:xfrm>
          <a:off x="4057904" y="2818600"/>
          <a:ext cx="219592" cy="6734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73416"/>
              </a:lnTo>
              <a:lnTo>
                <a:pt x="219592" y="673416"/>
              </a:lnTo>
            </a:path>
          </a:pathLst>
        </a:custGeom>
        <a:noFill/>
        <a:ln w="12700" cap="sq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C815448-A5FC-4EBA-9E8A-43BC61A3E323}">
      <dsp:nvSpPr>
        <dsp:cNvPr id="0" name=""/>
        <dsp:cNvSpPr/>
      </dsp:nvSpPr>
      <dsp:spPr>
        <a:xfrm>
          <a:off x="4643483" y="1773824"/>
          <a:ext cx="864198" cy="312802"/>
        </a:xfrm>
        <a:custGeom>
          <a:avLst/>
          <a:gdLst/>
          <a:ahLst/>
          <a:cxnLst/>
          <a:rect l="0" t="0" r="0" b="0"/>
          <a:pathLst>
            <a:path>
              <a:moveTo>
                <a:pt x="864198" y="0"/>
              </a:moveTo>
              <a:lnTo>
                <a:pt x="864198" y="159087"/>
              </a:lnTo>
              <a:lnTo>
                <a:pt x="0" y="159087"/>
              </a:lnTo>
              <a:lnTo>
                <a:pt x="0" y="312802"/>
              </a:lnTo>
            </a:path>
          </a:pathLst>
        </a:custGeom>
        <a:noFill/>
        <a:ln w="12700" cap="sq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022B727-6AAA-4F45-8C50-D968E03D6F7D}">
      <dsp:nvSpPr>
        <dsp:cNvPr id="0" name=""/>
        <dsp:cNvSpPr/>
      </dsp:nvSpPr>
      <dsp:spPr>
        <a:xfrm>
          <a:off x="4017645" y="739792"/>
          <a:ext cx="1490036" cy="30205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48341"/>
              </a:lnTo>
              <a:lnTo>
                <a:pt x="1490036" y="148341"/>
              </a:lnTo>
              <a:lnTo>
                <a:pt x="1490036" y="302056"/>
              </a:lnTo>
            </a:path>
          </a:pathLst>
        </a:cu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A686D08-B899-4FE4-9198-53B863ABF79F}">
      <dsp:nvSpPr>
        <dsp:cNvPr id="0" name=""/>
        <dsp:cNvSpPr/>
      </dsp:nvSpPr>
      <dsp:spPr>
        <a:xfrm>
          <a:off x="1920538" y="1779196"/>
          <a:ext cx="219592" cy="67341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673416"/>
              </a:lnTo>
              <a:lnTo>
                <a:pt x="219592" y="673416"/>
              </a:lnTo>
            </a:path>
          </a:pathLst>
        </a:custGeom>
        <a:noFill/>
        <a:ln w="12700" cap="sq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DA4FE65-DA4C-49DF-9778-FDAF9B9A1A80}">
      <dsp:nvSpPr>
        <dsp:cNvPr id="0" name=""/>
        <dsp:cNvSpPr/>
      </dsp:nvSpPr>
      <dsp:spPr>
        <a:xfrm>
          <a:off x="2506117" y="739792"/>
          <a:ext cx="1511527" cy="307429"/>
        </a:xfrm>
        <a:custGeom>
          <a:avLst/>
          <a:gdLst/>
          <a:ahLst/>
          <a:cxnLst/>
          <a:rect l="0" t="0" r="0" b="0"/>
          <a:pathLst>
            <a:path>
              <a:moveTo>
                <a:pt x="1511527" y="0"/>
              </a:moveTo>
              <a:lnTo>
                <a:pt x="1511527" y="153714"/>
              </a:lnTo>
              <a:lnTo>
                <a:pt x="0" y="153714"/>
              </a:lnTo>
              <a:lnTo>
                <a:pt x="0" y="307429"/>
              </a:lnTo>
            </a:path>
          </a:pathLst>
        </a:cu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B42700D-5158-488D-94B8-7CB0EB38BE79}">
      <dsp:nvSpPr>
        <dsp:cNvPr id="0" name=""/>
        <dsp:cNvSpPr/>
      </dsp:nvSpPr>
      <dsp:spPr>
        <a:xfrm>
          <a:off x="731974" y="739792"/>
          <a:ext cx="3285670" cy="316586"/>
        </a:xfrm>
        <a:custGeom>
          <a:avLst/>
          <a:gdLst/>
          <a:ahLst/>
          <a:cxnLst/>
          <a:rect l="0" t="0" r="0" b="0"/>
          <a:pathLst>
            <a:path>
              <a:moveTo>
                <a:pt x="3285670" y="0"/>
              </a:moveTo>
              <a:lnTo>
                <a:pt x="3285670" y="162871"/>
              </a:lnTo>
              <a:lnTo>
                <a:pt x="0" y="162871"/>
              </a:lnTo>
              <a:lnTo>
                <a:pt x="0" y="316586"/>
              </a:lnTo>
            </a:path>
          </a:pathLst>
        </a:cu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0212043-6178-40F4-BD51-459C813622E0}">
      <dsp:nvSpPr>
        <dsp:cNvPr id="0" name=""/>
        <dsp:cNvSpPr/>
      </dsp:nvSpPr>
      <dsp:spPr>
        <a:xfrm>
          <a:off x="3285670" y="7818"/>
          <a:ext cx="1463949" cy="73197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E05 Sr Manager Advanced Grid Ops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Glenn Pritchard </a:t>
          </a:r>
        </a:p>
      </dsp:txBody>
      <dsp:txXfrm>
        <a:off x="3285670" y="7818"/>
        <a:ext cx="1463949" cy="731974"/>
      </dsp:txXfrm>
    </dsp:sp>
    <dsp:sp modelId="{A30A3006-D26C-4E59-9A27-A3FCB75889A9}">
      <dsp:nvSpPr>
        <dsp:cNvPr id="0" name=""/>
        <dsp:cNvSpPr/>
      </dsp:nvSpPr>
      <dsp:spPr>
        <a:xfrm>
          <a:off x="0" y="1056379"/>
          <a:ext cx="1463949" cy="73197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OT SGP Program (Contractors)</a:t>
          </a:r>
        </a:p>
      </dsp:txBody>
      <dsp:txXfrm>
        <a:off x="0" y="1056379"/>
        <a:ext cx="1463949" cy="731974"/>
      </dsp:txXfrm>
    </dsp:sp>
    <dsp:sp modelId="{8AF8D746-D153-4B5E-A667-7E0020A3D6C3}">
      <dsp:nvSpPr>
        <dsp:cNvPr id="0" name=""/>
        <dsp:cNvSpPr/>
      </dsp:nvSpPr>
      <dsp:spPr>
        <a:xfrm>
          <a:off x="1774143" y="1047222"/>
          <a:ext cx="1463949" cy="73197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E04 </a:t>
          </a:r>
          <a:r>
            <a:rPr lang="en-US" sz="1000" kern="1200" dirty="0" err="1"/>
            <a:t>Mgr</a:t>
          </a:r>
          <a:r>
            <a:rPr lang="en-US" sz="1000" kern="1200" dirty="0"/>
            <a:t> AMI </a:t>
          </a:r>
        </a:p>
      </dsp:txBody>
      <dsp:txXfrm>
        <a:off x="1774143" y="1047222"/>
        <a:ext cx="1463949" cy="731974"/>
      </dsp:txXfrm>
    </dsp:sp>
    <dsp:sp modelId="{A8F06774-3ABF-4C96-8128-0A575B426526}">
      <dsp:nvSpPr>
        <dsp:cNvPr id="0" name=""/>
        <dsp:cNvSpPr/>
      </dsp:nvSpPr>
      <dsp:spPr>
        <a:xfrm>
          <a:off x="2140130" y="2086626"/>
          <a:ext cx="1463949" cy="73197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1 Network Engineer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1 AMI Endpoint Engineer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1 DA Endpoint engineer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1 Sawtooth Engineer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/>
            <a:t>1 General Engineer (Meter Standards) </a:t>
          </a:r>
          <a:endParaRPr lang="en-US" sz="1000" kern="1200" dirty="0"/>
        </a:p>
      </dsp:txBody>
      <dsp:txXfrm>
        <a:off x="2140130" y="2086626"/>
        <a:ext cx="1463949" cy="731974"/>
      </dsp:txXfrm>
    </dsp:sp>
    <dsp:sp modelId="{B27C2A8D-5ECB-495C-90D8-47E0569B1FB1}">
      <dsp:nvSpPr>
        <dsp:cNvPr id="0" name=""/>
        <dsp:cNvSpPr/>
      </dsp:nvSpPr>
      <dsp:spPr>
        <a:xfrm>
          <a:off x="4775707" y="1041849"/>
          <a:ext cx="1463949" cy="73197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E04 </a:t>
          </a:r>
          <a:r>
            <a:rPr lang="en-US" sz="1000" kern="1200" dirty="0" err="1"/>
            <a:t>Mgr</a:t>
          </a:r>
          <a:r>
            <a:rPr lang="en-US" sz="1000" kern="1200" dirty="0"/>
            <a:t> </a:t>
          </a:r>
          <a:r>
            <a:rPr lang="en-US" sz="1000" kern="1200" dirty="0" err="1"/>
            <a:t>Dist</a:t>
          </a:r>
          <a:r>
            <a:rPr lang="en-US" sz="1000" kern="1200" dirty="0"/>
            <a:t> Automation </a:t>
          </a:r>
        </a:p>
      </dsp:txBody>
      <dsp:txXfrm>
        <a:off x="4775707" y="1041849"/>
        <a:ext cx="1463949" cy="731974"/>
      </dsp:txXfrm>
    </dsp:sp>
    <dsp:sp modelId="{CEDDF391-7842-4340-8E39-24AA95E5135B}">
      <dsp:nvSpPr>
        <dsp:cNvPr id="0" name=""/>
        <dsp:cNvSpPr/>
      </dsp:nvSpPr>
      <dsp:spPr>
        <a:xfrm>
          <a:off x="3911509" y="2086626"/>
          <a:ext cx="1463949" cy="73197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1 Sup Work Management </a:t>
          </a:r>
        </a:p>
      </dsp:txBody>
      <dsp:txXfrm>
        <a:off x="3911509" y="2086626"/>
        <a:ext cx="1463949" cy="731974"/>
      </dsp:txXfrm>
    </dsp:sp>
    <dsp:sp modelId="{E048024D-1BA4-4B4E-A720-84D479DF1853}">
      <dsp:nvSpPr>
        <dsp:cNvPr id="0" name=""/>
        <dsp:cNvSpPr/>
      </dsp:nvSpPr>
      <dsp:spPr>
        <a:xfrm>
          <a:off x="4277496" y="3126030"/>
          <a:ext cx="1463949" cy="73197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3 Engineering Tech Specialists</a:t>
          </a:r>
        </a:p>
      </dsp:txBody>
      <dsp:txXfrm>
        <a:off x="4277496" y="3126030"/>
        <a:ext cx="1463949" cy="731974"/>
      </dsp:txXfrm>
    </dsp:sp>
    <dsp:sp modelId="{0237D380-D749-4430-A5C9-CD86C52B8882}">
      <dsp:nvSpPr>
        <dsp:cNvPr id="0" name=""/>
        <dsp:cNvSpPr/>
      </dsp:nvSpPr>
      <dsp:spPr>
        <a:xfrm>
          <a:off x="5682887" y="2086626"/>
          <a:ext cx="1463949" cy="73197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3 DA Ops Engineers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Sr RF Engineering Tech</a:t>
          </a:r>
        </a:p>
      </dsp:txBody>
      <dsp:txXfrm>
        <a:off x="5682887" y="2086626"/>
        <a:ext cx="1463949" cy="731974"/>
      </dsp:txXfrm>
    </dsp:sp>
    <dsp:sp modelId="{AD34E6C8-F7E4-48B6-BDFC-F698DCC6A439}">
      <dsp:nvSpPr>
        <dsp:cNvPr id="0" name=""/>
        <dsp:cNvSpPr/>
      </dsp:nvSpPr>
      <dsp:spPr>
        <a:xfrm>
          <a:off x="6568576" y="1047222"/>
          <a:ext cx="1463949" cy="73197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Quantitative Engineer</a:t>
          </a:r>
        </a:p>
      </dsp:txBody>
      <dsp:txXfrm>
        <a:off x="6568576" y="1047222"/>
        <a:ext cx="1463949" cy="73197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9158022-85B7-49A2-947E-CF99699F0958}">
      <dsp:nvSpPr>
        <dsp:cNvPr id="0" name=""/>
        <dsp:cNvSpPr/>
      </dsp:nvSpPr>
      <dsp:spPr>
        <a:xfrm>
          <a:off x="6468600" y="2239585"/>
          <a:ext cx="1110857" cy="49538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5327"/>
              </a:lnTo>
              <a:lnTo>
                <a:pt x="1110857" y="295327"/>
              </a:lnTo>
              <a:lnTo>
                <a:pt x="1110857" y="495387"/>
              </a:lnTo>
            </a:path>
          </a:pathLst>
        </a:custGeom>
        <a:noFill/>
        <a:ln w="12700" cap="sq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349959F-E530-4FEB-A889-9126A990ADB3}">
      <dsp:nvSpPr>
        <dsp:cNvPr id="0" name=""/>
        <dsp:cNvSpPr/>
      </dsp:nvSpPr>
      <dsp:spPr>
        <a:xfrm>
          <a:off x="5357742" y="2239585"/>
          <a:ext cx="1110857" cy="472494"/>
        </a:xfrm>
        <a:custGeom>
          <a:avLst/>
          <a:gdLst/>
          <a:ahLst/>
          <a:cxnLst/>
          <a:rect l="0" t="0" r="0" b="0"/>
          <a:pathLst>
            <a:path>
              <a:moveTo>
                <a:pt x="1110857" y="0"/>
              </a:moveTo>
              <a:lnTo>
                <a:pt x="1110857" y="272434"/>
              </a:lnTo>
              <a:lnTo>
                <a:pt x="0" y="272434"/>
              </a:lnTo>
              <a:lnTo>
                <a:pt x="0" y="472494"/>
              </a:lnTo>
            </a:path>
          </a:pathLst>
        </a:custGeom>
        <a:noFill/>
        <a:ln w="12700" cap="sq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C42F879-A40D-46D6-8A46-CDAA9D00AEE1}">
      <dsp:nvSpPr>
        <dsp:cNvPr id="0" name=""/>
        <dsp:cNvSpPr/>
      </dsp:nvSpPr>
      <dsp:spPr>
        <a:xfrm>
          <a:off x="3691455" y="886796"/>
          <a:ext cx="2777144" cy="495387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95327"/>
              </a:lnTo>
              <a:lnTo>
                <a:pt x="2777144" y="295327"/>
              </a:lnTo>
              <a:lnTo>
                <a:pt x="2777144" y="495387"/>
              </a:lnTo>
            </a:path>
          </a:pathLst>
        </a:cu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EA0065D-379C-495B-8C40-D079B2F1A889}">
      <dsp:nvSpPr>
        <dsp:cNvPr id="0" name=""/>
        <dsp:cNvSpPr/>
      </dsp:nvSpPr>
      <dsp:spPr>
        <a:xfrm>
          <a:off x="3090306" y="2239585"/>
          <a:ext cx="91440" cy="495387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95387"/>
              </a:lnTo>
            </a:path>
          </a:pathLst>
        </a:custGeom>
        <a:noFill/>
        <a:ln w="12700" cap="sq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7A1C4FD-AAAE-4BD8-A0D1-E8C218F8BE4B}">
      <dsp:nvSpPr>
        <dsp:cNvPr id="0" name=""/>
        <dsp:cNvSpPr/>
      </dsp:nvSpPr>
      <dsp:spPr>
        <a:xfrm>
          <a:off x="3136026" y="886796"/>
          <a:ext cx="555428" cy="495387"/>
        </a:xfrm>
        <a:custGeom>
          <a:avLst/>
          <a:gdLst/>
          <a:ahLst/>
          <a:cxnLst/>
          <a:rect l="0" t="0" r="0" b="0"/>
          <a:pathLst>
            <a:path>
              <a:moveTo>
                <a:pt x="555428" y="0"/>
              </a:moveTo>
              <a:lnTo>
                <a:pt x="555428" y="295327"/>
              </a:lnTo>
              <a:lnTo>
                <a:pt x="0" y="295327"/>
              </a:lnTo>
              <a:lnTo>
                <a:pt x="0" y="495387"/>
              </a:lnTo>
            </a:path>
          </a:pathLst>
        </a:cu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9BD77CB-9359-4B4C-8CF5-8D58F803B734}">
      <dsp:nvSpPr>
        <dsp:cNvPr id="0" name=""/>
        <dsp:cNvSpPr/>
      </dsp:nvSpPr>
      <dsp:spPr>
        <a:xfrm>
          <a:off x="914310" y="886796"/>
          <a:ext cx="2777144" cy="495387"/>
        </a:xfrm>
        <a:custGeom>
          <a:avLst/>
          <a:gdLst/>
          <a:ahLst/>
          <a:cxnLst/>
          <a:rect l="0" t="0" r="0" b="0"/>
          <a:pathLst>
            <a:path>
              <a:moveTo>
                <a:pt x="2777144" y="0"/>
              </a:moveTo>
              <a:lnTo>
                <a:pt x="2777144" y="295327"/>
              </a:lnTo>
              <a:lnTo>
                <a:pt x="0" y="295327"/>
              </a:lnTo>
              <a:lnTo>
                <a:pt x="0" y="495387"/>
              </a:lnTo>
            </a:path>
          </a:pathLst>
        </a:custGeom>
        <a:noFill/>
        <a:ln w="12700" cap="sq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-110000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83E1B64-C5DF-4590-BE80-48B663BFB310}">
      <dsp:nvSpPr>
        <dsp:cNvPr id="0" name=""/>
        <dsp:cNvSpPr/>
      </dsp:nvSpPr>
      <dsp:spPr>
        <a:xfrm>
          <a:off x="2863457" y="29395"/>
          <a:ext cx="1655995" cy="85740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120989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E05 Sr. Meter Maintenance Manager </a:t>
          </a:r>
        </a:p>
      </dsp:txBody>
      <dsp:txXfrm>
        <a:off x="2863457" y="29395"/>
        <a:ext cx="1655995" cy="857401"/>
      </dsp:txXfrm>
    </dsp:sp>
    <dsp:sp modelId="{874209AA-1534-4F3B-B5F5-EC545003A716}">
      <dsp:nvSpPr>
        <dsp:cNvPr id="0" name=""/>
        <dsp:cNvSpPr/>
      </dsp:nvSpPr>
      <dsp:spPr>
        <a:xfrm>
          <a:off x="2945373" y="552702"/>
          <a:ext cx="1490396" cy="285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11430" rIns="4572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Mickey Bracey </a:t>
          </a:r>
        </a:p>
      </dsp:txBody>
      <dsp:txXfrm>
        <a:off x="2945373" y="552702"/>
        <a:ext cx="1490396" cy="285800"/>
      </dsp:txXfrm>
    </dsp:sp>
    <dsp:sp modelId="{A70AC101-F407-4C4C-9AEC-D87FD1E342A9}">
      <dsp:nvSpPr>
        <dsp:cNvPr id="0" name=""/>
        <dsp:cNvSpPr/>
      </dsp:nvSpPr>
      <dsp:spPr>
        <a:xfrm>
          <a:off x="86313" y="1382183"/>
          <a:ext cx="1655995" cy="85740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120989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Administrative Coordinator </a:t>
          </a:r>
        </a:p>
      </dsp:txBody>
      <dsp:txXfrm>
        <a:off x="86313" y="1382183"/>
        <a:ext cx="1655995" cy="857401"/>
      </dsp:txXfrm>
    </dsp:sp>
    <dsp:sp modelId="{870368A4-66C5-4CD7-9B38-3BF782242EF7}">
      <dsp:nvSpPr>
        <dsp:cNvPr id="0" name=""/>
        <dsp:cNvSpPr/>
      </dsp:nvSpPr>
      <dsp:spPr>
        <a:xfrm>
          <a:off x="148585" y="1851660"/>
          <a:ext cx="1490396" cy="285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800" tIns="12700" rIns="508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/>
            <a:t>Darlene Banks</a:t>
          </a:r>
        </a:p>
      </dsp:txBody>
      <dsp:txXfrm>
        <a:off x="148585" y="1851660"/>
        <a:ext cx="1490396" cy="285800"/>
      </dsp:txXfrm>
    </dsp:sp>
    <dsp:sp modelId="{FABC89E4-BD26-4031-A469-9BD3F3C5573C}">
      <dsp:nvSpPr>
        <dsp:cNvPr id="0" name=""/>
        <dsp:cNvSpPr/>
      </dsp:nvSpPr>
      <dsp:spPr>
        <a:xfrm>
          <a:off x="2308028" y="1382183"/>
          <a:ext cx="1655995" cy="85740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120989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E04 Revenue Protection Manager </a:t>
          </a:r>
        </a:p>
      </dsp:txBody>
      <dsp:txXfrm>
        <a:off x="2308028" y="1382183"/>
        <a:ext cx="1655995" cy="857401"/>
      </dsp:txXfrm>
    </dsp:sp>
    <dsp:sp modelId="{18BEA2BD-67B4-4C86-867C-F3B51DD46527}">
      <dsp:nvSpPr>
        <dsp:cNvPr id="0" name=""/>
        <dsp:cNvSpPr/>
      </dsp:nvSpPr>
      <dsp:spPr>
        <a:xfrm>
          <a:off x="2380957" y="1851763"/>
          <a:ext cx="1490396" cy="285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11430" rIns="4572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Keith Steger</a:t>
          </a:r>
        </a:p>
      </dsp:txBody>
      <dsp:txXfrm>
        <a:off x="2380957" y="1851763"/>
        <a:ext cx="1490396" cy="285800"/>
      </dsp:txXfrm>
    </dsp:sp>
    <dsp:sp modelId="{4B50847B-6ECB-499D-9B4B-57B302A6DFF2}">
      <dsp:nvSpPr>
        <dsp:cNvPr id="0" name=""/>
        <dsp:cNvSpPr/>
      </dsp:nvSpPr>
      <dsp:spPr>
        <a:xfrm>
          <a:off x="2308028" y="2734972"/>
          <a:ext cx="1655995" cy="85740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120989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E03 Supervisor Rev Pro and HB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1 Work Planner — T. Mont</a:t>
          </a:r>
        </a:p>
      </dsp:txBody>
      <dsp:txXfrm>
        <a:off x="2308028" y="2734972"/>
        <a:ext cx="1655995" cy="857401"/>
      </dsp:txXfrm>
    </dsp:sp>
    <dsp:sp modelId="{DA7E53D6-E77F-4D44-9E75-06ED11F99F9B}">
      <dsp:nvSpPr>
        <dsp:cNvPr id="0" name=""/>
        <dsp:cNvSpPr/>
      </dsp:nvSpPr>
      <dsp:spPr>
        <a:xfrm>
          <a:off x="2427308" y="3249522"/>
          <a:ext cx="1490396" cy="285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11430" rIns="4572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Open</a:t>
          </a:r>
        </a:p>
      </dsp:txBody>
      <dsp:txXfrm>
        <a:off x="2427308" y="3249522"/>
        <a:ext cx="1490396" cy="285800"/>
      </dsp:txXfrm>
    </dsp:sp>
    <dsp:sp modelId="{551B7BD8-393E-4A2B-97CF-1989B5EA8E5E}">
      <dsp:nvSpPr>
        <dsp:cNvPr id="0" name=""/>
        <dsp:cNvSpPr/>
      </dsp:nvSpPr>
      <dsp:spPr>
        <a:xfrm>
          <a:off x="5640602" y="1382183"/>
          <a:ext cx="1655995" cy="85740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120989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E04 Meter Maintenance Manager Field </a:t>
          </a:r>
        </a:p>
      </dsp:txBody>
      <dsp:txXfrm>
        <a:off x="5640602" y="1382183"/>
        <a:ext cx="1655995" cy="857401"/>
      </dsp:txXfrm>
    </dsp:sp>
    <dsp:sp modelId="{B20053A6-1745-4C12-8A0F-AF03795C0E50}">
      <dsp:nvSpPr>
        <dsp:cNvPr id="0" name=""/>
        <dsp:cNvSpPr/>
      </dsp:nvSpPr>
      <dsp:spPr>
        <a:xfrm>
          <a:off x="5740015" y="1851763"/>
          <a:ext cx="1490396" cy="285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11430" rIns="4572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/>
            <a:t>Harry Sheneman </a:t>
          </a:r>
        </a:p>
      </dsp:txBody>
      <dsp:txXfrm>
        <a:off x="5740015" y="1851763"/>
        <a:ext cx="1490396" cy="285800"/>
      </dsp:txXfrm>
    </dsp:sp>
    <dsp:sp modelId="{4222E061-0ACF-476D-9CC3-3F9BE0779ACB}">
      <dsp:nvSpPr>
        <dsp:cNvPr id="0" name=""/>
        <dsp:cNvSpPr/>
      </dsp:nvSpPr>
      <dsp:spPr>
        <a:xfrm>
          <a:off x="4529744" y="2712079"/>
          <a:ext cx="1655995" cy="85740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120989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E03 Supervisor Meter Shop and Electric MM                                           1 Work Planner — P. Morroney</a:t>
          </a:r>
        </a:p>
      </dsp:txBody>
      <dsp:txXfrm>
        <a:off x="4529744" y="2712079"/>
        <a:ext cx="1655995" cy="857401"/>
      </dsp:txXfrm>
    </dsp:sp>
    <dsp:sp modelId="{560E380B-46C5-4CBD-B6DF-CD8858640A1E}">
      <dsp:nvSpPr>
        <dsp:cNvPr id="0" name=""/>
        <dsp:cNvSpPr/>
      </dsp:nvSpPr>
      <dsp:spPr>
        <a:xfrm>
          <a:off x="4618650" y="3262766"/>
          <a:ext cx="1490396" cy="285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11430" rIns="45720" bIns="1143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170D67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Shawn Carbone</a:t>
          </a:r>
        </a:p>
      </dsp:txBody>
      <dsp:txXfrm>
        <a:off x="4618650" y="3262766"/>
        <a:ext cx="1490396" cy="285800"/>
      </dsp:txXfrm>
    </dsp:sp>
    <dsp:sp modelId="{B849D618-55B7-4054-B072-7A3DE5CFEAAA}">
      <dsp:nvSpPr>
        <dsp:cNvPr id="0" name=""/>
        <dsp:cNvSpPr/>
      </dsp:nvSpPr>
      <dsp:spPr>
        <a:xfrm>
          <a:off x="6751460" y="2734972"/>
          <a:ext cx="1655995" cy="857401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120989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E03 Supervisor Gas MM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/>
            <a:t>1 Work Planner — V. Stetler </a:t>
          </a:r>
        </a:p>
      </dsp:txBody>
      <dsp:txXfrm>
        <a:off x="6751460" y="2734972"/>
        <a:ext cx="1655995" cy="857401"/>
      </dsp:txXfrm>
    </dsp:sp>
    <dsp:sp modelId="{DBE7322E-33F4-48F4-A336-1342C2A195BF}">
      <dsp:nvSpPr>
        <dsp:cNvPr id="0" name=""/>
        <dsp:cNvSpPr/>
      </dsp:nvSpPr>
      <dsp:spPr>
        <a:xfrm>
          <a:off x="6831006" y="3216410"/>
          <a:ext cx="1490396" cy="285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contrasting" dir="t">
            <a:rot lat="0" lon="0" rev="1200000"/>
          </a:lightRig>
        </a:scene3d>
        <a:sp3d z="300000" contourW="19050" prstMaterial="metal">
          <a:bevelT w="88900" h="203200"/>
          <a:bevelB w="165100" h="2540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11430" rIns="45720" bIns="1143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 dirty="0">
              <a:solidFill>
                <a:srgbClr val="170D67">
                  <a:hueOff val="0"/>
                  <a:satOff val="0"/>
                  <a:lumOff val="0"/>
                  <a:alphaOff val="0"/>
                </a:srgbClr>
              </a:solidFill>
              <a:latin typeface="Arial"/>
              <a:ea typeface="+mn-ea"/>
              <a:cs typeface="+mn-cs"/>
            </a:rPr>
            <a:t>Brendan Ryan </a:t>
          </a:r>
        </a:p>
      </dsp:txBody>
      <dsp:txXfrm>
        <a:off x="6831006" y="3216410"/>
        <a:ext cx="1490396" cy="2858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3">
  <dgm:title val=""/>
  <dgm:desc val=""/>
  <dgm:catLst>
    <dgm:cat type="3D" pri="11300"/>
  </dgm:catLst>
  <dgm:scene3d>
    <a:camera prst="orthographicFront"/>
    <a:lightRig rig="threePt" dir="t"/>
  </dgm:scene3d>
  <dgm:styleLbl name="node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clear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182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>
        <a:rot lat="0" lon="0" rev="0"/>
      </a:camera>
      <a:lightRig rig="contrasting" dir="t">
        <a:rot lat="0" lon="0" rev="1200000"/>
      </a:lightRig>
    </dgm:scene3d>
    <dgm:sp3d z="10000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>
        <a:rot lat="0" lon="0" rev="0"/>
      </a:camera>
      <a:lightRig rig="contrasting" dir="t">
        <a:rot lat="0" lon="0" rev="1200000"/>
      </a:lightRig>
    </dgm:scene3d>
    <dgm:sp3d z="-110000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2700" prstMaterial="flat">
      <a:bevelT w="177800" h="2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>
        <a:rot lat="0" lon="0" rev="0"/>
      </a:camera>
      <a:lightRig rig="contrasting" dir="t">
        <a:rot lat="0" lon="0" rev="1200000"/>
      </a:lightRig>
    </dgm:scene3d>
    <dgm:sp3d z="-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>
        <a:rot lat="0" lon="0" rev="0"/>
      </a:camera>
      <a:lightRig rig="contrasting" dir="t">
        <a:rot lat="0" lon="0" rev="1200000"/>
      </a:lightRig>
    </dgm:scene3d>
    <dgm:sp3d z="-300000" prstMaterial="plastic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>
        <a:rot lat="0" lon="0" rev="0"/>
      </a:camera>
      <a:lightRig rig="contrasting" dir="t">
        <a:rot lat="0" lon="0" rev="1200000"/>
      </a:lightRig>
    </dgm:scene3d>
    <dgm:sp3d contourW="12700" prstMaterial="flat">
      <a:bevelT w="100800" h="154000"/>
      <a:bevelB w="1524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>
        <a:rot lat="0" lon="0" rev="0"/>
      </a:camera>
      <a:lightRig rig="contrasting" dir="t">
        <a:rot lat="0" lon="0" rev="1200000"/>
      </a:lightRig>
    </dgm:scene3d>
    <dgm:sp3d z="-152400" prstMaterial="matte"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>
        <a:rot lat="0" lon="0" rev="0"/>
      </a:camera>
      <a:lightRig rig="contrasting" dir="t">
        <a:rot lat="0" lon="0" rev="1200000"/>
      </a:lightRig>
    </dgm:scene3d>
    <dgm:sp3d z="300000" contourW="19050" prstMaterial="metal">
      <a:bevelT w="88900" h="203200"/>
      <a:bevelB w="165100" h="254000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135D57F-F683-4E3F-BE97-7564C6EB85D2}" type="datetimeFigureOut">
              <a:rPr lang="en-US" smtClean="0"/>
              <a:t>7/2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8294E9-629F-4050-8653-F013BB50239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9877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i="0" u="none" strike="noStrike" baseline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outhern Cal Edison currently has a 2% failure rate in their meters (1/3 due to corroded batteries and 2/3 due to other issues)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i="0" u="none" strike="noStrike" baseline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By 2028 the rate is expected to increase to 80%.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i="0" u="none" strike="noStrike" baseline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urrent meter population is 5.2M meter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800" b="0" i="0" u="none" strike="noStrike" baseline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eplacement Plan will be funded through their Utility Commission (5-6 year Plan starting in 2028 costing $2.5B-$3B). Plan will also include the cost of a communication system upgrade (Silver Springs Network or new system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99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6DBD7B-B6F6-4360-AAF3-81C0C2DF5F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99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56164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E0BE5A-EA76-4098-BDBB-04DC196B51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8EBDAF6-EE5B-4132-F2B9-24A9070D84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9600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E0BE5A-EA76-4098-BDBB-04DC196B51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41315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E0BE5A-EA76-4098-BDBB-04DC196B51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81783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6E0BE5A-EA76-4098-BDBB-04DC196B514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3762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building with a tower&#10;&#10;Description automatically generated">
            <a:extLst>
              <a:ext uri="{FF2B5EF4-FFF2-40B4-BE49-F238E27FC236}">
                <a16:creationId xmlns:a16="http://schemas.microsoft.com/office/drawing/2014/main" id="{F77047B3-F3DD-E46C-8FBD-2018A2CC3A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3253" y="0"/>
            <a:ext cx="2335427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72174" y="1952367"/>
            <a:ext cx="7071826" cy="1557595"/>
          </a:xfrm>
        </p:spPr>
        <p:txBody>
          <a:bodyPr anchor="b">
            <a:normAutofit/>
          </a:bodyPr>
          <a:lstStyle>
            <a:lvl1pPr algn="ctr">
              <a:defRPr lang="en-US" sz="7200" b="1" kern="1200" dirty="0" smtClean="0">
                <a:solidFill>
                  <a:srgbClr val="E41937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72174" y="3509965"/>
            <a:ext cx="7071826" cy="674859"/>
          </a:xfrm>
        </p:spPr>
        <p:txBody>
          <a:bodyPr>
            <a:noAutofit/>
          </a:bodyPr>
          <a:lstStyle>
            <a:lvl1pPr marL="0" indent="0" algn="ctr">
              <a:buNone/>
              <a:defRPr lang="en-US" sz="5400" kern="1200" dirty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0EE48A7-EDD1-9928-3AF4-97BF1B7DBE5B}"/>
              </a:ext>
            </a:extLst>
          </p:cNvPr>
          <p:cNvSpPr/>
          <p:nvPr userDrawn="1"/>
        </p:nvSpPr>
        <p:spPr>
          <a:xfrm>
            <a:off x="2072175" y="762002"/>
            <a:ext cx="6690826" cy="38031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5" name="Picture 4" descr="A red and black logo&#10;&#10;Description automatically generated">
            <a:extLst>
              <a:ext uri="{FF2B5EF4-FFF2-40B4-BE49-F238E27FC236}">
                <a16:creationId xmlns:a16="http://schemas.microsoft.com/office/drawing/2014/main" id="{6E3EB278-4700-7289-F26D-5F94CB1F9E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000" y="228600"/>
            <a:ext cx="2329391" cy="1421018"/>
          </a:xfrm>
          <a:prstGeom prst="rect">
            <a:avLst/>
          </a:prstGeom>
        </p:spPr>
      </p:pic>
      <p:sp>
        <p:nvSpPr>
          <p:cNvPr id="6" name="Text Placeholder 13">
            <a:extLst>
              <a:ext uri="{FF2B5EF4-FFF2-40B4-BE49-F238E27FC236}">
                <a16:creationId xmlns:a16="http://schemas.microsoft.com/office/drawing/2014/main" id="{C89D99CD-5FBB-174D-CE45-E759653CDED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66946" y="5508761"/>
            <a:ext cx="3244850" cy="271161"/>
          </a:xfrm>
        </p:spPr>
        <p:txBody>
          <a:bodyPr>
            <a:normAutofit fontScale="92500" lnSpcReduction="20000"/>
          </a:bodyPr>
          <a:lstStyle/>
          <a:p>
            <a:endParaRPr lang="en-US" dirty="0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E1642BB1-90A6-F423-D332-E06CDCFA87E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66946" y="5779922"/>
            <a:ext cx="3244850" cy="271161"/>
          </a:xfrm>
        </p:spPr>
        <p:txBody>
          <a:bodyPr>
            <a:normAutofit fontScale="92500" lnSpcReduction="20000"/>
          </a:bodyPr>
          <a:lstStyle/>
          <a:p>
            <a:endParaRPr lang="en-US"/>
          </a:p>
        </p:txBody>
      </p:sp>
      <p:sp>
        <p:nvSpPr>
          <p:cNvPr id="9" name="Text Placeholder 15">
            <a:extLst>
              <a:ext uri="{FF2B5EF4-FFF2-40B4-BE49-F238E27FC236}">
                <a16:creationId xmlns:a16="http://schemas.microsoft.com/office/drawing/2014/main" id="{408DF6D3-D85E-F5B6-FF48-A92CA7AF12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66946" y="6051083"/>
            <a:ext cx="3244850" cy="271161"/>
          </a:xfrm>
        </p:spPr>
        <p:txBody>
          <a:bodyPr>
            <a:normAutofit fontScale="92500" lnSpcReduction="20000"/>
          </a:bodyPr>
          <a:lstStyle/>
          <a:p>
            <a:endParaRPr lang="en-US"/>
          </a:p>
        </p:txBody>
      </p:sp>
      <p:pic>
        <p:nvPicPr>
          <p:cNvPr id="10" name="Picture 9" descr="A black and red calendar with red letters and numbers&#10;&#10;Description automatically generated">
            <a:extLst>
              <a:ext uri="{FF2B5EF4-FFF2-40B4-BE49-F238E27FC236}">
                <a16:creationId xmlns:a16="http://schemas.microsoft.com/office/drawing/2014/main" id="{52AED08C-E35F-8F19-EEFB-C49F495FB81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907" y="5353985"/>
            <a:ext cx="3055647" cy="1172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6730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DB86F4-63E7-4383-9532-DCF2327878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6951" y="136524"/>
            <a:ext cx="7146325" cy="6995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E3CDAD9-5B2A-457C-8529-7105255CD5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8650" y="6336618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escometering.com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FDEDE86-11F3-430D-A22E-FE21C4BA7C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EAC4C4-F0A7-4B61-A827-E4198D07826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543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hoto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22C30B5-3792-4E4B-A88E-9EB993E202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8003119E-6ED5-A04F-A9CB-BCB26099308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2900" y="1737358"/>
            <a:ext cx="4114800" cy="297180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9DA05FDA-F191-8E4B-9D3F-39F03BD735B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0" y="4937760"/>
            <a:ext cx="4114800" cy="1280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4D0CAF51-2B50-154B-BC7A-BF332C4DFDA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6300" y="1737358"/>
            <a:ext cx="4114800" cy="297180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C1B7D16F-A467-AD46-BFD4-6949827D3F4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686300" y="4937760"/>
            <a:ext cx="4114800" cy="1280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4518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108">
          <p15:clr>
            <a:srgbClr val="A4A3A4"/>
          </p15:clr>
        </p15:guide>
        <p15:guide id="2" orient="horz" pos="2968">
          <p15:clr>
            <a:srgbClr val="A4A3A4"/>
          </p15:clr>
        </p15:guide>
        <p15:guide id="3" orient="horz" pos="1092">
          <p15:clr>
            <a:srgbClr val="A4A3A4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9F140ED-A954-D843-87E1-8E636778CB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A87E07-D230-4A2B-90EB-BAFE34A4AD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42901" y="1737360"/>
            <a:ext cx="2666999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F30D3B-DD55-43C0-9A96-3AC11E0112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238502" y="1737360"/>
            <a:ext cx="2669381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E7CE142-0CA8-FE44-AEBE-6EA0C0C5956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136482" y="1737360"/>
            <a:ext cx="2662332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25219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hoto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AE667E5-98EE-5349-8A56-61BA231EA6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1" y="457200"/>
            <a:ext cx="7012781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3F6B296F-04BC-6341-B4FE-0C06D815992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2900" y="1737358"/>
            <a:ext cx="2667000" cy="2377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F2A87E07-D230-4A2B-90EB-BAFE34A4AD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42900" y="4343403"/>
            <a:ext cx="2667000" cy="1874519"/>
          </a:xfrm>
        </p:spPr>
        <p:txBody>
          <a:bodyPr/>
          <a:lstStyle>
            <a:lvl1pPr marL="137160" indent="-137160">
              <a:defRPr sz="1050"/>
            </a:lvl1pPr>
            <a:lvl2pPr marL="274320" indent="-137160">
              <a:defRPr sz="1050"/>
            </a:lvl2pPr>
            <a:lvl3pPr marL="411480" indent="-137160">
              <a:defRPr sz="1050"/>
            </a:lvl3pPr>
            <a:lvl4pPr marL="548640" indent="-137160">
              <a:defRPr sz="1050"/>
            </a:lvl4pPr>
            <a:lvl5pPr marL="685800" indent="-137160">
              <a:defRPr sz="1050"/>
            </a:lvl5pPr>
            <a:lvl6pPr marL="822960" indent="-137160">
              <a:defRPr sz="1050"/>
            </a:lvl6pPr>
            <a:lvl7pPr marL="960120" indent="-137160">
              <a:defRPr sz="1050"/>
            </a:lvl7pPr>
            <a:lvl8pPr marL="1097280" indent="-137160">
              <a:defRPr sz="1050"/>
            </a:lvl8pPr>
            <a:lvl9pPr marL="1234440" indent="-137160"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68B1F4A6-D35D-314A-8458-FAACCF02778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38501" y="1737358"/>
            <a:ext cx="2669381" cy="2377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CFF30D3B-DD55-43C0-9A96-3AC11E0112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238502" y="4343403"/>
            <a:ext cx="2669381" cy="1874519"/>
          </a:xfrm>
        </p:spPr>
        <p:txBody>
          <a:bodyPr/>
          <a:lstStyle>
            <a:lvl1pPr marL="137160" indent="-137160">
              <a:defRPr sz="1050"/>
            </a:lvl1pPr>
            <a:lvl2pPr marL="274320" indent="-137160">
              <a:defRPr sz="1050"/>
            </a:lvl2pPr>
            <a:lvl3pPr marL="411480" indent="-137160">
              <a:defRPr sz="1050"/>
            </a:lvl3pPr>
            <a:lvl4pPr marL="548640" indent="-137160">
              <a:defRPr sz="1050"/>
            </a:lvl4pPr>
            <a:lvl5pPr marL="685800" indent="-137160">
              <a:defRPr sz="1050"/>
            </a:lvl5pPr>
            <a:lvl6pPr marL="822960" indent="-137160">
              <a:defRPr sz="1050"/>
            </a:lvl6pPr>
            <a:lvl7pPr marL="960120" indent="-137160">
              <a:defRPr sz="1050"/>
            </a:lvl7pPr>
            <a:lvl8pPr marL="1097280" indent="-137160">
              <a:defRPr sz="1050"/>
            </a:lvl8pPr>
            <a:lvl9pPr marL="1234440" indent="-137160"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D3A36F88-D46F-A045-9FAE-DB4F02EE338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36483" y="1737358"/>
            <a:ext cx="2664619" cy="2377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3E7CE142-0CA8-FE44-AEBE-6EA0C0C5956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136483" y="4343403"/>
            <a:ext cx="2664619" cy="1874519"/>
          </a:xfrm>
        </p:spPr>
        <p:txBody>
          <a:bodyPr/>
          <a:lstStyle>
            <a:lvl1pPr marL="137160" indent="-137160">
              <a:defRPr sz="1050"/>
            </a:lvl1pPr>
            <a:lvl2pPr marL="274320" indent="-137160">
              <a:defRPr sz="1050"/>
            </a:lvl2pPr>
            <a:lvl3pPr marL="411480" indent="-137160">
              <a:defRPr sz="1050"/>
            </a:lvl3pPr>
            <a:lvl4pPr marL="548640" indent="-137160">
              <a:defRPr sz="1050"/>
            </a:lvl4pPr>
            <a:lvl5pPr marL="685800" indent="-137160">
              <a:defRPr sz="1050"/>
            </a:lvl5pPr>
            <a:lvl6pPr marL="822960" indent="-137160">
              <a:defRPr sz="1050"/>
            </a:lvl6pPr>
            <a:lvl7pPr marL="960120" indent="-137160">
              <a:defRPr sz="1050"/>
            </a:lvl7pPr>
            <a:lvl8pPr marL="1097280" indent="-137160">
              <a:defRPr sz="1050"/>
            </a:lvl8pPr>
            <a:lvl9pPr marL="1234440" indent="-137160"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7759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6" orient="horz" pos="2592">
          <p15:clr>
            <a:srgbClr val="A4A3A4"/>
          </p15:clr>
        </p15:guide>
        <p15:guide id="7" orient="horz" pos="2734">
          <p15:clr>
            <a:srgbClr val="A4A3A4"/>
          </p15:clr>
        </p15:guide>
        <p15:guide id="8" orient="horz" pos="1092">
          <p15:clr>
            <a:srgbClr val="A4A3A4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41B625E-44A6-7E49-99D5-8C73EBF7E7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1" y="457200"/>
            <a:ext cx="7012781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A87E07-D230-4A2B-90EB-BAFE34A4AD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42901" y="1737360"/>
            <a:ext cx="1221581" cy="448056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F30D3B-DD55-43C0-9A96-3AC11E0112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790702" y="1737360"/>
            <a:ext cx="1219961" cy="448056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E7CE142-0CA8-FE44-AEBE-6EA0C0C5956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38502" y="1737360"/>
            <a:ext cx="1219199" cy="448056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5BC9E542-5C7A-5F45-986F-1849A865FCE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86301" y="1737360"/>
            <a:ext cx="1219199" cy="448056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6544A43D-2F1E-3848-B23C-4FBC4563348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36484" y="1737360"/>
            <a:ext cx="1219199" cy="448056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7">
            <a:extLst>
              <a:ext uri="{FF2B5EF4-FFF2-40B4-BE49-F238E27FC236}">
                <a16:creationId xmlns:a16="http://schemas.microsoft.com/office/drawing/2014/main" id="{E2895ADA-48AA-C84D-A65B-7441BB140A9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586666" y="1737360"/>
            <a:ext cx="1212148" cy="448056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06631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Photo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41B625E-44A6-7E49-99D5-8C73EBF7E7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1" y="457200"/>
            <a:ext cx="7012781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5D8E3C3A-BC08-3E46-9CCD-F118AD3A5FC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2900" y="1737358"/>
            <a:ext cx="1220724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F2A87E07-D230-4A2B-90EB-BAFE34A4AD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42901" y="3154680"/>
            <a:ext cx="1221581" cy="306324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EFA28167-CB7D-C341-84A9-A9F9D24B95A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790700" y="1737358"/>
            <a:ext cx="1220724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CFF30D3B-DD55-43C0-9A96-3AC11E0112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790702" y="3154680"/>
            <a:ext cx="1219961" cy="306324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BB98807F-BA29-0440-AC0B-37992865D5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38501" y="1737358"/>
            <a:ext cx="1220724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3E7CE142-0CA8-FE44-AEBE-6EA0C0C5956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38502" y="3154680"/>
            <a:ext cx="1219199" cy="306324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AFFF6CCC-8DBB-A741-AA67-EC14C297B81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86300" y="1737358"/>
            <a:ext cx="1220724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5BC9E542-5C7A-5F45-986F-1849A865FCE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86301" y="3154680"/>
            <a:ext cx="1219199" cy="306324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5B678099-6AAF-EE4E-81F3-60755C4436F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36483" y="1737358"/>
            <a:ext cx="1220724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Content Placeholder 11">
            <a:extLst>
              <a:ext uri="{FF2B5EF4-FFF2-40B4-BE49-F238E27FC236}">
                <a16:creationId xmlns:a16="http://schemas.microsoft.com/office/drawing/2014/main" id="{6544A43D-2F1E-3848-B23C-4FBC4563348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36484" y="3154680"/>
            <a:ext cx="1219199" cy="306324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EF3DFB9E-32BB-C040-8B1A-72E687796F0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586666" y="1737358"/>
            <a:ext cx="1212148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Content Placeholder 13">
            <a:extLst>
              <a:ext uri="{FF2B5EF4-FFF2-40B4-BE49-F238E27FC236}">
                <a16:creationId xmlns:a16="http://schemas.microsoft.com/office/drawing/2014/main" id="{E2895ADA-48AA-C84D-A65B-7441BB140A9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586666" y="3154680"/>
            <a:ext cx="1212148" cy="306324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72059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872">
          <p15:clr>
            <a:srgbClr val="A4A3A4"/>
          </p15:clr>
        </p15:guide>
        <p15:guide id="2" orient="horz" pos="1986">
          <p15:clr>
            <a:srgbClr val="A4A3A4"/>
          </p15:clr>
        </p15:guide>
        <p15:guide id="3" orient="horz" pos="1092">
          <p15:clr>
            <a:srgbClr val="A4A3A4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DB856AC-3CE9-C745-8E1F-72AC71377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1" y="457200"/>
            <a:ext cx="7012781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465466B-3F33-DB47-84A2-6F568D25265F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42900" y="1737360"/>
            <a:ext cx="2667000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EBA115F8-994C-8A4C-ACE0-25AE5F0718D6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239814" y="1737360"/>
            <a:ext cx="5561286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6619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9ED47DF-F22C-3D49-B066-4B51EE7042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1" y="457200"/>
            <a:ext cx="7012781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4C90D45-1AE3-474C-8013-D60AA387A812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42899" y="1737360"/>
            <a:ext cx="5564982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91FEA3D8-D639-BC4F-BDEF-E6116326D0B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136483" y="1737360"/>
            <a:ext cx="2664620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8412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9D742D-B3DC-AA4D-912D-5EA93D9647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Optional slide title]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EDC1505-1CCF-3145-B369-C90344F39B0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42901" y="1737360"/>
            <a:ext cx="7012781" cy="448056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tx1"/>
                </a:solidFill>
              </a:defRPr>
            </a:lvl1pPr>
            <a:lvl2pPr marL="171450" indent="-171450">
              <a:lnSpc>
                <a:spcPct val="110000"/>
              </a:lnSpc>
              <a:spcBef>
                <a:spcPts val="900"/>
              </a:spcBef>
              <a:buFont typeface="Arial" panose="020B0604020202020204" pitchFamily="34" charset="0"/>
              <a:buChar char="–"/>
              <a:defRPr sz="1200" b="0">
                <a:solidFill>
                  <a:schemeClr val="tx1"/>
                </a:solidFill>
              </a:defRPr>
            </a:lvl2pPr>
            <a:lvl3pPr marL="342900" indent="-137160">
              <a:spcBef>
                <a:spcPts val="225"/>
              </a:spcBef>
              <a:buClrTx/>
              <a:buFont typeface="Arial" panose="020B0604020202020204" pitchFamily="34" charset="0"/>
              <a:buChar char="–"/>
              <a:defRPr/>
            </a:lvl3pPr>
            <a:lvl4pPr marL="514350" indent="-171450">
              <a:spcBef>
                <a:spcPts val="225"/>
              </a:spcBef>
              <a:buClrTx/>
              <a:buFont typeface="Arial" panose="020B0604020202020204" pitchFamily="34" charset="0"/>
              <a:buChar char="–"/>
              <a:defRPr/>
            </a:lvl4pPr>
            <a:lvl5pPr marL="685800" indent="-171450">
              <a:spcBef>
                <a:spcPts val="225"/>
              </a:spcBef>
              <a:buClrTx/>
              <a:buFont typeface="Arial" panose="020B0604020202020204" pitchFamily="34" charset="0"/>
              <a:buChar char="–"/>
              <a:defRPr/>
            </a:lvl5pPr>
            <a:lvl6pPr marL="857250" indent="-171450">
              <a:spcBef>
                <a:spcPts val="225"/>
              </a:spcBef>
              <a:buClrTx/>
              <a:buFont typeface="Arial" panose="020B0604020202020204" pitchFamily="34" charset="0"/>
              <a:buChar char="–"/>
              <a:defRPr/>
            </a:lvl6pPr>
            <a:lvl7pPr marL="1028700" indent="-171450">
              <a:spcBef>
                <a:spcPts val="225"/>
              </a:spcBef>
              <a:buClrTx/>
              <a:buFont typeface="Arial" panose="020B0604020202020204" pitchFamily="34" charset="0"/>
              <a:buChar char="–"/>
              <a:defRPr/>
            </a:lvl7pPr>
            <a:lvl8pPr marL="1200150" indent="-171450">
              <a:spcBef>
                <a:spcPts val="225"/>
              </a:spcBef>
              <a:buClrTx/>
              <a:buFont typeface="Arial" panose="020B0604020202020204" pitchFamily="34" charset="0"/>
              <a:buChar char="–"/>
              <a:defRPr/>
            </a:lvl8pPr>
            <a:lvl9pPr marL="1371600" indent="-171450">
              <a:spcBef>
                <a:spcPts val="225"/>
              </a:spcBef>
              <a:buClrTx/>
              <a:buFont typeface="Arial" panose="020B0604020202020204" pitchFamily="34" charset="0"/>
              <a:buChar char="–"/>
              <a:defRPr/>
            </a:lvl9pPr>
          </a:lstStyle>
          <a:p>
            <a:pPr lvl="0"/>
            <a:r>
              <a:rPr lang="en-US"/>
              <a:t>[Big statement]</a:t>
            </a:r>
          </a:p>
          <a:p>
            <a:pPr lvl="1"/>
            <a:r>
              <a:rPr lang="en-US"/>
              <a:t>[Attribution]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431133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503AFCD-99D5-BA44-9B85-794E757DA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0" y="457200"/>
            <a:ext cx="4114800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DA05FDA-F191-8E4B-9D3F-39F03BD735B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0" y="1737360"/>
            <a:ext cx="4114800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EB70FBD3-3AE3-8D4D-B019-8121AF06E9E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6300" y="0"/>
            <a:ext cx="4457700" cy="685800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99015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orient="horz" pos="1092">
          <p15:clr>
            <a:srgbClr val="A4A3A4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hoto - Blue">
    <p:bg>
      <p:bgPr>
        <a:solidFill>
          <a:srgbClr val="170D6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503AFCD-99D5-BA44-9B85-794E757DA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0" y="457200"/>
            <a:ext cx="4114800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DA05FDA-F191-8E4B-9D3F-39F03BD735B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0" y="1737360"/>
            <a:ext cx="4114800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EB70FBD3-3AE3-8D4D-B019-8121AF06E9E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6300" y="0"/>
            <a:ext cx="4457700" cy="6858000"/>
          </a:xfrm>
          <a:solidFill>
            <a:srgbClr val="8B86B3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50896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orient="horz" pos="1092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B5CCE3BE-287D-5C40-8E88-33DE08CE2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E9F1870-3C4F-E343-9315-9272E669690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42903" y="1737360"/>
            <a:ext cx="7012781" cy="4480560"/>
          </a:xfrm>
        </p:spPr>
        <p:txBody>
          <a:bodyPr/>
          <a:lstStyle>
            <a:lvl1pPr marL="192881" indent="-192881">
              <a:buFont typeface="+mj-lt"/>
              <a:buAutoNum type="arabicPeriod"/>
              <a:defRPr sz="1013"/>
            </a:lvl1pPr>
            <a:lvl2pPr marL="289322" indent="-96441">
              <a:buFont typeface="Arial" panose="020B0604020202020204" pitchFamily="34" charset="0"/>
              <a:buChar char="–"/>
              <a:defRPr sz="675"/>
            </a:lvl2pPr>
            <a:lvl3pPr marL="385763" indent="-96441">
              <a:buFont typeface="Arial" panose="020B0604020202020204" pitchFamily="34" charset="0"/>
              <a:buChar char="–"/>
              <a:defRPr sz="675"/>
            </a:lvl3pPr>
            <a:lvl4pPr marL="482204" indent="-96441">
              <a:buFont typeface="Arial" panose="020B0604020202020204" pitchFamily="34" charset="0"/>
              <a:buChar char="–"/>
              <a:defRPr sz="675"/>
            </a:lvl4pPr>
            <a:lvl5pPr marL="578644" indent="-96441">
              <a:buFont typeface="Arial" panose="020B0604020202020204" pitchFamily="34" charset="0"/>
              <a:buChar char="–"/>
              <a:defRPr sz="675"/>
            </a:lvl5pPr>
            <a:lvl6pPr marL="675085" indent="-96441">
              <a:buFont typeface="Arial" panose="020B0604020202020204" pitchFamily="34" charset="0"/>
              <a:buChar char="–"/>
              <a:defRPr sz="675"/>
            </a:lvl6pPr>
            <a:lvl7pPr marL="771525" indent="-96441">
              <a:buFont typeface="Arial" panose="020B0604020202020204" pitchFamily="34" charset="0"/>
              <a:buChar char="–"/>
              <a:defRPr sz="675"/>
            </a:lvl7pPr>
            <a:lvl8pPr marL="867966" indent="-96441">
              <a:buFont typeface="Arial" panose="020B0604020202020204" pitchFamily="34" charset="0"/>
              <a:buChar char="–"/>
              <a:defRPr sz="675"/>
            </a:lvl8pPr>
            <a:lvl9pPr marL="964406" indent="-96441">
              <a:buFont typeface="Arial" panose="020B0604020202020204" pitchFamily="34" charset="0"/>
              <a:buChar char="–"/>
              <a:defRPr sz="675"/>
            </a:lvl9pPr>
          </a:lstStyle>
          <a:p>
            <a:pPr lvl="0"/>
            <a:r>
              <a:rPr lang="en-US"/>
              <a:t>[Agenda item]</a:t>
            </a:r>
          </a:p>
          <a:p>
            <a:pPr lvl="1"/>
            <a:r>
              <a:rPr lang="en-US"/>
              <a:t>[Agenda sub-item]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93793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6" orient="horz" pos="1092">
          <p15:clr>
            <a:srgbClr val="A4A3A4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>
            <a:extLst>
              <a:ext uri="{FF2B5EF4-FFF2-40B4-BE49-F238E27FC236}">
                <a16:creationId xmlns:a16="http://schemas.microsoft.com/office/drawing/2014/main" id="{01336BB9-131E-EB4B-8700-C48DD8ACC01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5"/>
            <a:ext cx="9144000" cy="6857997"/>
          </a:xfrm>
          <a:solidFill>
            <a:srgbClr val="DBDBE9"/>
          </a:solidFill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023FBAC-1788-B548-9C1F-C059390AD1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 marL="0" marR="0" indent="0" algn="l" defTabSz="5143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[Optional slide title]</a:t>
            </a:r>
          </a:p>
        </p:txBody>
      </p:sp>
    </p:spTree>
    <p:extLst>
      <p:ext uri="{BB962C8B-B14F-4D97-AF65-F5344CB8AC3E}">
        <p14:creationId xmlns:p14="http://schemas.microsoft.com/office/powerpoint/2010/main" val="40933535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67921A-18B5-4EC0-B921-CA27E4A3D6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</p:spTree>
    <p:extLst>
      <p:ext uri="{BB962C8B-B14F-4D97-AF65-F5344CB8AC3E}">
        <p14:creationId xmlns:p14="http://schemas.microsoft.com/office/powerpoint/2010/main" val="2667750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9610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gradFill>
          <a:gsLst>
            <a:gs pos="100000">
              <a:srgbClr val="6E06C1"/>
            </a:gs>
            <a:gs pos="65000">
              <a:srgbClr val="170D67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">
            <a:extLst>
              <a:ext uri="{FF2B5EF4-FFF2-40B4-BE49-F238E27FC236}">
                <a16:creationId xmlns:a16="http://schemas.microsoft.com/office/drawing/2014/main" id="{83D0FA9B-FB65-7E4A-94B6-DA461E5FAB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57" t="812" r="28978" b="33971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7" name="PECO" descr="PECO: An Exelon Company">
            <a:extLst>
              <a:ext uri="{FF2B5EF4-FFF2-40B4-BE49-F238E27FC236}">
                <a16:creationId xmlns:a16="http://schemas.microsoft.com/office/drawing/2014/main" id="{05420BBA-8C48-5E4F-8587-7A822AE546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50127" y="203199"/>
            <a:ext cx="2125123" cy="1217041"/>
          </a:xfrm>
          <a:prstGeom prst="rect">
            <a:avLst/>
          </a:prstGeom>
        </p:spPr>
      </p:pic>
      <p:sp>
        <p:nvSpPr>
          <p:cNvPr id="12" name="TextBox">
            <a:extLst>
              <a:ext uri="{FF2B5EF4-FFF2-40B4-BE49-F238E27FC236}">
                <a16:creationId xmlns:a16="http://schemas.microsoft.com/office/drawing/2014/main" id="{EEC090CD-1D8D-EF4F-AFB1-71B75EA35959}"/>
              </a:ext>
            </a:extLst>
          </p:cNvPr>
          <p:cNvSpPr txBox="1"/>
          <p:nvPr userDrawn="1"/>
        </p:nvSpPr>
        <p:spPr>
          <a:xfrm>
            <a:off x="342900" y="2926080"/>
            <a:ext cx="8458200" cy="173736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00000"/>
              <a:buFontTx/>
              <a:buNone/>
            </a:pPr>
            <a:r>
              <a:rPr lang="en-US" sz="4500" b="0">
                <a:solidFill>
                  <a:schemeClr val="tx1"/>
                </a:solidFill>
                <a:latin typeface="+mj-lt"/>
              </a:rPr>
              <a:t>Thank you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79D4DF77-3EF5-EE42-B584-7D896A52588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1" y="5305425"/>
            <a:ext cx="4114800" cy="9144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9pPr>
          </a:lstStyle>
          <a:p>
            <a:pPr lvl="0"/>
            <a:r>
              <a:rPr lang="en-US"/>
              <a:t>[Optional contact information]</a:t>
            </a:r>
          </a:p>
        </p:txBody>
      </p:sp>
    </p:spTree>
    <p:extLst>
      <p:ext uri="{BB962C8B-B14F-4D97-AF65-F5344CB8AC3E}">
        <p14:creationId xmlns:p14="http://schemas.microsoft.com/office/powerpoint/2010/main" val="13086487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Gray">
    <p:bg>
      <p:bgPr>
        <a:solidFill>
          <a:srgbClr val="DBD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>
            <a:extLst>
              <a:ext uri="{FF2B5EF4-FFF2-40B4-BE49-F238E27FC236}">
                <a16:creationId xmlns:a16="http://schemas.microsoft.com/office/drawing/2014/main" id="{BD2F1F44-13AA-9540-AEC8-CCC812D52A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6" name="PECO" descr="PECO: An Exelon Company">
            <a:extLst>
              <a:ext uri="{FF2B5EF4-FFF2-40B4-BE49-F238E27FC236}">
                <a16:creationId xmlns:a16="http://schemas.microsoft.com/office/drawing/2014/main" id="{2A2ABE23-0023-5E46-815D-CCB83CC896A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7" y="203199"/>
            <a:ext cx="2125123" cy="1217041"/>
          </a:xfrm>
          <a:prstGeom prst="rect">
            <a:avLst/>
          </a:prstGeom>
        </p:spPr>
      </p:pic>
      <p:sp>
        <p:nvSpPr>
          <p:cNvPr id="12" name="TextBox">
            <a:extLst>
              <a:ext uri="{FF2B5EF4-FFF2-40B4-BE49-F238E27FC236}">
                <a16:creationId xmlns:a16="http://schemas.microsoft.com/office/drawing/2014/main" id="{EEC090CD-1D8D-EF4F-AFB1-71B75EA35959}"/>
              </a:ext>
            </a:extLst>
          </p:cNvPr>
          <p:cNvSpPr txBox="1"/>
          <p:nvPr userDrawn="1"/>
        </p:nvSpPr>
        <p:spPr>
          <a:xfrm>
            <a:off x="342900" y="2926080"/>
            <a:ext cx="8458200" cy="173736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00000"/>
              <a:buFontTx/>
              <a:buNone/>
            </a:pPr>
            <a:r>
              <a:rPr lang="en-US" sz="4500" b="0">
                <a:solidFill>
                  <a:schemeClr val="tx1"/>
                </a:solidFill>
                <a:latin typeface="+mj-lt"/>
              </a:rPr>
              <a:t>Thank you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79D4DF77-3EF5-EE42-B584-7D896A52588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1" y="5305425"/>
            <a:ext cx="4114800" cy="9144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9pPr>
          </a:lstStyle>
          <a:p>
            <a:pPr lvl="0"/>
            <a:r>
              <a:rPr lang="en-US"/>
              <a:t>[Optional contact information]</a:t>
            </a:r>
          </a:p>
        </p:txBody>
      </p:sp>
    </p:spTree>
    <p:extLst>
      <p:ext uri="{BB962C8B-B14F-4D97-AF65-F5344CB8AC3E}">
        <p14:creationId xmlns:p14="http://schemas.microsoft.com/office/powerpoint/2010/main" val="18739822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>
            <a:extLst>
              <a:ext uri="{FF2B5EF4-FFF2-40B4-BE49-F238E27FC236}">
                <a16:creationId xmlns:a16="http://schemas.microsoft.com/office/drawing/2014/main" id="{CABF1D01-D617-5B4C-B94C-F3F2184C09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6" name="PECO" descr="PECO: An Exelon Company">
            <a:extLst>
              <a:ext uri="{FF2B5EF4-FFF2-40B4-BE49-F238E27FC236}">
                <a16:creationId xmlns:a16="http://schemas.microsoft.com/office/drawing/2014/main" id="{441E47AC-C454-DA45-9BA6-40C0EC0C59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7" y="203199"/>
            <a:ext cx="2125123" cy="1217041"/>
          </a:xfrm>
          <a:prstGeom prst="rect">
            <a:avLst/>
          </a:prstGeom>
        </p:spPr>
      </p:pic>
      <p:sp>
        <p:nvSpPr>
          <p:cNvPr id="12" name="TextBox">
            <a:extLst>
              <a:ext uri="{FF2B5EF4-FFF2-40B4-BE49-F238E27FC236}">
                <a16:creationId xmlns:a16="http://schemas.microsoft.com/office/drawing/2014/main" id="{EEC090CD-1D8D-EF4F-AFB1-71B75EA35959}"/>
              </a:ext>
            </a:extLst>
          </p:cNvPr>
          <p:cNvSpPr txBox="1"/>
          <p:nvPr userDrawn="1"/>
        </p:nvSpPr>
        <p:spPr>
          <a:xfrm>
            <a:off x="342900" y="2926080"/>
            <a:ext cx="8458200" cy="173736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00000"/>
              <a:buFontTx/>
              <a:buNone/>
            </a:pPr>
            <a:r>
              <a:rPr lang="en-US" sz="4500" b="0">
                <a:solidFill>
                  <a:schemeClr val="tx1"/>
                </a:solidFill>
                <a:latin typeface="+mj-lt"/>
              </a:rPr>
              <a:t>Thank you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79D4DF77-3EF5-EE42-B584-7D896A52588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1" y="5305425"/>
            <a:ext cx="4114800" cy="9144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9pPr>
          </a:lstStyle>
          <a:p>
            <a:pPr lvl="0"/>
            <a:r>
              <a:rPr lang="en-US"/>
              <a:t>[Optional contact information]</a:t>
            </a:r>
          </a:p>
        </p:txBody>
      </p:sp>
    </p:spTree>
    <p:extLst>
      <p:ext uri="{BB962C8B-B14F-4D97-AF65-F5344CB8AC3E}">
        <p14:creationId xmlns:p14="http://schemas.microsoft.com/office/powerpoint/2010/main" val="37015148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bg>
      <p:bgPr>
        <a:gradFill>
          <a:gsLst>
            <a:gs pos="65000">
              <a:srgbClr val="170D67"/>
            </a:gs>
            <a:gs pos="100000">
              <a:srgbClr val="6E06C1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ECO" descr="PECO: An Exelon Company">
            <a:extLst>
              <a:ext uri="{FF2B5EF4-FFF2-40B4-BE49-F238E27FC236}">
                <a16:creationId xmlns:a16="http://schemas.microsoft.com/office/drawing/2014/main" id="{DA6E9EFB-9A4A-4845-8C41-FFE5AE5B79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700213" y="1784350"/>
            <a:ext cx="5743575" cy="328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4689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- Gray">
    <p:bg>
      <p:bgPr>
        <a:solidFill>
          <a:srgbClr val="DBD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ECO" descr="PECO: An Exelon Company">
            <a:extLst>
              <a:ext uri="{FF2B5EF4-FFF2-40B4-BE49-F238E27FC236}">
                <a16:creationId xmlns:a16="http://schemas.microsoft.com/office/drawing/2014/main" id="{8EADD1EA-08FE-BD43-89F4-1D6C443688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700213" y="1784350"/>
            <a:ext cx="5743575" cy="328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937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ECO" descr="PECO: An Exelon Company">
            <a:extLst>
              <a:ext uri="{FF2B5EF4-FFF2-40B4-BE49-F238E27FC236}">
                <a16:creationId xmlns:a16="http://schemas.microsoft.com/office/drawing/2014/main" id="{00346728-1559-3141-8647-7C1E20A3C4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700213" y="1784350"/>
            <a:ext cx="5743575" cy="328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1515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8"/>
            <a:ext cx="7772400" cy="1362075"/>
          </a:xfrm>
        </p:spPr>
        <p:txBody>
          <a:bodyPr anchor="t"/>
          <a:lstStyle>
            <a:lvl1pPr algn="l">
              <a:defRPr sz="1688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844"/>
            </a:lvl1pPr>
            <a:lvl2pPr marL="192876" indent="0">
              <a:buNone/>
              <a:defRPr sz="760"/>
            </a:lvl2pPr>
            <a:lvl3pPr marL="385753" indent="0">
              <a:buNone/>
              <a:defRPr sz="675"/>
            </a:lvl3pPr>
            <a:lvl4pPr marL="578630" indent="0">
              <a:buNone/>
              <a:defRPr sz="591"/>
            </a:lvl4pPr>
            <a:lvl5pPr marL="771506" indent="0">
              <a:buNone/>
              <a:defRPr sz="591"/>
            </a:lvl5pPr>
            <a:lvl6pPr marL="964382" indent="0">
              <a:buNone/>
              <a:defRPr sz="591"/>
            </a:lvl6pPr>
            <a:lvl7pPr marL="1157259" indent="0">
              <a:buNone/>
              <a:defRPr sz="591"/>
            </a:lvl7pPr>
            <a:lvl8pPr marL="1350135" indent="0">
              <a:buNone/>
              <a:defRPr sz="591"/>
            </a:lvl8pPr>
            <a:lvl9pPr marL="1543011" indent="0">
              <a:buNone/>
              <a:defRPr sz="59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  <a:p>
            <a:fld id="{2726230C-1691-405B-98B1-3FBE56ABCC0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385310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gradFill>
          <a:gsLst>
            <a:gs pos="100000">
              <a:srgbClr val="6E06C1"/>
            </a:gs>
            <a:gs pos="65000">
              <a:srgbClr val="170D67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">
            <a:extLst>
              <a:ext uri="{FF2B5EF4-FFF2-40B4-BE49-F238E27FC236}">
                <a16:creationId xmlns:a16="http://schemas.microsoft.com/office/drawing/2014/main" id="{350772A3-E462-9C4A-9452-404AE4ACB8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57" t="812" r="28978" b="33971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9" name="PECO" descr="PECO: An Exelon Company">
            <a:extLst>
              <a:ext uri="{FF2B5EF4-FFF2-40B4-BE49-F238E27FC236}">
                <a16:creationId xmlns:a16="http://schemas.microsoft.com/office/drawing/2014/main" id="{EABD70D4-68D7-0C45-A49B-5ECE9926710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50129" y="203203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8458200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2531" b="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4846320"/>
            <a:ext cx="84582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4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4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4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4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4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4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4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4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4"/>
                </a:solidFill>
                <a:latin typeface="+mn-lt"/>
              </a:defRPr>
            </a:lvl9pPr>
          </a:lstStyle>
          <a:p>
            <a:r>
              <a:rPr lang="en-US"/>
              <a:t>[Business Unit | Presenter Name]</a:t>
            </a:r>
          </a:p>
        </p:txBody>
      </p:sp>
    </p:spTree>
    <p:extLst>
      <p:ext uri="{BB962C8B-B14F-4D97-AF65-F5344CB8AC3E}">
        <p14:creationId xmlns:p14="http://schemas.microsoft.com/office/powerpoint/2010/main" val="37218229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7F15BF-65DE-491F-9AE6-8E3B967B34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D4CE46-12A3-435F-B5EC-A201C058E7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41A083A-F38C-4339-843C-DBCBE1B1F1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AA80B-4C21-424A-ABB5-177D961ED830}" type="datetime1">
              <a:rPr lang="en-US" smtClean="0"/>
              <a:t>7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DCC166-D797-4AD7-9DE9-76827AC4E5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5C6AD35-C255-4147-A489-9E3ADB1DB2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B927DF-DFD3-466B-8421-D2F8BBD036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022324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ECO 2-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1"/>
            <a:ext cx="8839200" cy="457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288B0C91-21EE-44FA-AB27-27412B5380C1}" type="slidenum">
              <a:rPr lang="en-US" smtClean="0"/>
              <a:t>‹#›</a:t>
            </a:fld>
            <a:endParaRPr lang="en-US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152400" y="609600"/>
            <a:ext cx="4343400" cy="58245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idx="12"/>
          </p:nvPr>
        </p:nvSpPr>
        <p:spPr>
          <a:xfrm>
            <a:off x="4648200" y="609600"/>
            <a:ext cx="4343400" cy="58245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3913689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pb | left panel |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BEA404B-5706-485C-85FC-3D79C528849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3461" y="821787"/>
            <a:ext cx="2326436" cy="12192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5000"/>
              </a:lnSpc>
              <a:buNone/>
              <a:defRPr sz="1200">
                <a:solidFill>
                  <a:schemeClr val="tx2"/>
                </a:solidFill>
                <a:latin typeface="Calibri" panose="020F0502020204030204" pitchFamily="34" charset="0"/>
              </a:defRPr>
            </a:lvl1pPr>
            <a:lvl2pPr>
              <a:defRPr sz="1200">
                <a:latin typeface="Calibri" panose="020F0502020204030204" pitchFamily="34" charset="0"/>
              </a:defRPr>
            </a:lvl2pPr>
            <a:lvl3pPr>
              <a:defRPr sz="1200">
                <a:latin typeface="Calibri" panose="020F0502020204030204" pitchFamily="34" charset="0"/>
              </a:defRPr>
            </a:lvl3pPr>
            <a:lvl4pPr>
              <a:defRPr sz="1200">
                <a:latin typeface="Calibri" panose="020F0502020204030204" pitchFamily="34" charset="0"/>
              </a:defRPr>
            </a:lvl4pPr>
            <a:lvl5pPr>
              <a:defRPr sz="1200">
                <a:latin typeface="Calibri" panose="020F0502020204030204" pitchFamily="34" charset="0"/>
              </a:defRPr>
            </a:lvl5pPr>
          </a:lstStyle>
          <a:p>
            <a:pPr lvl="0"/>
            <a:r>
              <a:rPr lang="en-US"/>
              <a:t>Slide takeaway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AFFD432-C0E1-4B77-93F6-32DA4127DA9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461" y="2463357"/>
            <a:ext cx="2326436" cy="12192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7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>
                <a:latin typeface="Calibri" panose="020F0502020204030204" pitchFamily="34" charset="0"/>
              </a:rPr>
              <a:t>Body copy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45A629-6D74-4D2F-B05C-0CB6C89F147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9525" y="5697894"/>
            <a:ext cx="2330372" cy="306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Note: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E5B26C2-2519-9944-99A9-CA69BF8A09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991" y="407583"/>
            <a:ext cx="2330372" cy="402371"/>
          </a:xfrm>
          <a:prstGeom prst="rect">
            <a:avLst/>
          </a:prstGeom>
        </p:spPr>
        <p:txBody>
          <a:bodyPr/>
          <a:lstStyle>
            <a:lvl1pPr>
              <a:defRPr lang="en-US" sz="750" b="1" kern="1200" dirty="0">
                <a:solidFill>
                  <a:schemeClr val="accent1"/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indent="0" algn="l" defTabSz="685417" rtl="0" eaLnBrk="1" latinLnBrk="0" hangingPunct="1">
              <a:spcBef>
                <a:spcPts val="375"/>
              </a:spcBef>
              <a:buClr>
                <a:srgbClr val="FF0000"/>
              </a:buClr>
              <a:buFont typeface="Wingdings" pitchFamily="2" charset="2"/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047181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">
            <a:extLst>
              <a:ext uri="{FF2B5EF4-FFF2-40B4-BE49-F238E27FC236}">
                <a16:creationId xmlns:a16="http://schemas.microsoft.com/office/drawing/2014/main" id="{8046F658-5A7F-1346-B08E-083B93F79AF6}"/>
              </a:ext>
            </a:extLst>
          </p:cNvPr>
          <p:cNvSpPr/>
          <p:nvPr userDrawn="1"/>
        </p:nvSpPr>
        <p:spPr>
          <a:xfrm rot="16200000">
            <a:off x="835870" y="-154134"/>
            <a:ext cx="54864" cy="1307504"/>
          </a:xfrm>
          <a:prstGeom prst="rect">
            <a:avLst/>
          </a:prstGeom>
          <a:gradFill>
            <a:gsLst>
              <a:gs pos="0">
                <a:srgbClr val="007FFF"/>
              </a:gs>
              <a:gs pos="100000">
                <a:srgbClr val="21EA70"/>
              </a:gs>
            </a:gsLst>
            <a:lin ang="5400000"/>
          </a:gradFill>
          <a:ln w="12700">
            <a:miter lim="400000"/>
          </a:ln>
        </p:spPr>
        <p:txBody>
          <a:bodyPr lIns="45719" tIns="45719" rIns="45719" bIns="45719" anchor="ctr"/>
          <a:lstStyle/>
          <a:p>
            <a:pPr marL="0" marR="0" lvl="0" indent="0" algn="l" defTabSz="18287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>
                <a:solidFill>
                  <a:srgbClr val="FFFFFF"/>
                </a:solidFill>
              </a:defRPr>
            </a:pPr>
            <a:endParaRPr kumimoji="0" sz="3000" b="0" i="0" u="none" strike="noStrike" kern="1200" cap="none" spc="0" normalizeH="0" baseline="0" noProof="0">
              <a:ln>
                <a:noFill/>
              </a:ln>
              <a:solidFill>
                <a:srgbClr val="170D67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itle Text">
            <a:extLst>
              <a:ext uri="{FF2B5EF4-FFF2-40B4-BE49-F238E27FC236}">
                <a16:creationId xmlns:a16="http://schemas.microsoft.com/office/drawing/2014/main" id="{E39C4608-91FE-014A-85CD-502A968840E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06732" y="146235"/>
            <a:ext cx="8407233" cy="28531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line / Title goes here, is max 32pt and min 24pt</a:t>
            </a:r>
            <a:endParaRPr/>
          </a:p>
        </p:txBody>
      </p:sp>
      <p:pic>
        <p:nvPicPr>
          <p:cNvPr id="5" name="JDPower_Logo16_red.png">
            <a:extLst>
              <a:ext uri="{FF2B5EF4-FFF2-40B4-BE49-F238E27FC236}">
                <a16:creationId xmlns:a16="http://schemas.microsoft.com/office/drawing/2014/main" id="{94111337-86FB-BC44-803E-F6DBC105EE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8581" y="6451393"/>
            <a:ext cx="868999" cy="185538"/>
          </a:xfrm>
          <a:prstGeom prst="rect">
            <a:avLst/>
          </a:prstGeom>
          <a:ln w="3175">
            <a:miter lim="400000"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B5FCC44-40B7-064E-B907-5104CBD7A14D}"/>
              </a:ext>
            </a:extLst>
          </p:cNvPr>
          <p:cNvSpPr/>
          <p:nvPr userDrawn="1"/>
        </p:nvSpPr>
        <p:spPr>
          <a:xfrm>
            <a:off x="108143" y="6651906"/>
            <a:ext cx="3967302" cy="277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 xmlns:p15="http://schemas.microsoft.com/office/powerpoint/2012/main" xmlns:p14="http://schemas.microsoft.com/office/powerpoint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xmlns:p15="http://schemas.microsoft.com/office/powerpoint/2012/main" xmlns:p14="http://schemas.microsoft.com/office/powerpoint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 xmlns:p15="http://schemas.microsoft.com/office/powerpoint/2012/main" xmlns:p14="http://schemas.microsoft.com/office/powerpoint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63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/>
              </a:rPr>
              <a:t> © J.D. Power. All Rights Reserved. CONFIDENTIAL &amp; PROPRIETAR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FA00793E-70E8-4CC0-A3D3-B39E7AF835C2}"/>
              </a:ext>
            </a:extLst>
          </p:cNvPr>
          <p:cNvSpPr txBox="1"/>
          <p:nvPr userDrawn="1"/>
        </p:nvSpPr>
        <p:spPr>
          <a:xfrm>
            <a:off x="8721318" y="6451393"/>
            <a:ext cx="367765" cy="257388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6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Helvetica"/>
              </a:defRPr>
            </a:lvl1pPr>
            <a:lvl2pPr marL="0" marR="0" indent="3429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6858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0287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13716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17145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20574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24003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27432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r" defTabSz="514350" rtl="0" eaLnBrk="1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FFD700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/>
              </a:rPr>
              <a:pPr marL="0" marR="0" lvl="0" indent="0" algn="r" defTabSz="514350" rtl="0" eaLnBrk="1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FFD700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60195532"/>
      </p:ext>
    </p:extLst>
  </p:cSld>
  <p:clrMapOvr>
    <a:masterClrMapping/>
  </p:clrMapOvr>
  <p:transition spd="med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">
            <a:extLst>
              <a:ext uri="{FF2B5EF4-FFF2-40B4-BE49-F238E27FC236}">
                <a16:creationId xmlns:a16="http://schemas.microsoft.com/office/drawing/2014/main" id="{8046F658-5A7F-1346-B08E-083B93F79AF6}"/>
              </a:ext>
            </a:extLst>
          </p:cNvPr>
          <p:cNvSpPr/>
          <p:nvPr userDrawn="1"/>
        </p:nvSpPr>
        <p:spPr>
          <a:xfrm rot="16200000">
            <a:off x="835870" y="-154134"/>
            <a:ext cx="54864" cy="1307504"/>
          </a:xfrm>
          <a:prstGeom prst="rect">
            <a:avLst/>
          </a:prstGeom>
          <a:gradFill>
            <a:gsLst>
              <a:gs pos="0">
                <a:srgbClr val="007FFF"/>
              </a:gs>
              <a:gs pos="100000">
                <a:srgbClr val="21EA70"/>
              </a:gs>
            </a:gsLst>
            <a:lin ang="5400000"/>
          </a:gradFill>
          <a:ln w="12700">
            <a:miter lim="400000"/>
          </a:ln>
        </p:spPr>
        <p:txBody>
          <a:bodyPr lIns="45719" tIns="45719" rIns="45719" bIns="45719" anchor="ctr"/>
          <a:lstStyle/>
          <a:p>
            <a:pPr defTabSz="1828754">
              <a:defRPr sz="3000">
                <a:solidFill>
                  <a:srgbClr val="FFFFFF"/>
                </a:solidFill>
              </a:defRPr>
            </a:pPr>
            <a:endParaRPr sz="3000">
              <a:solidFill>
                <a:schemeClr val="tx1"/>
              </a:solidFill>
            </a:endParaRPr>
          </a:p>
        </p:txBody>
      </p:sp>
      <p:sp>
        <p:nvSpPr>
          <p:cNvPr id="4" name="Title Text">
            <a:extLst>
              <a:ext uri="{FF2B5EF4-FFF2-40B4-BE49-F238E27FC236}">
                <a16:creationId xmlns:a16="http://schemas.microsoft.com/office/drawing/2014/main" id="{E39C4608-91FE-014A-85CD-502A968840E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06732" y="146235"/>
            <a:ext cx="8407233" cy="28531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line / Title goes here, is max 32pt and min 24pt</a:t>
            </a:r>
            <a:endParaRPr/>
          </a:p>
        </p:txBody>
      </p:sp>
      <p:pic>
        <p:nvPicPr>
          <p:cNvPr id="5" name="JDPower_Logo16_red.png">
            <a:extLst>
              <a:ext uri="{FF2B5EF4-FFF2-40B4-BE49-F238E27FC236}">
                <a16:creationId xmlns:a16="http://schemas.microsoft.com/office/drawing/2014/main" id="{94111337-86FB-BC44-803E-F6DBC105EE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8581" y="6451393"/>
            <a:ext cx="868999" cy="185538"/>
          </a:xfrm>
          <a:prstGeom prst="rect">
            <a:avLst/>
          </a:prstGeom>
          <a:ln w="3175">
            <a:miter lim="400000"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B5FCC44-40B7-064E-B907-5104CBD7A14D}"/>
              </a:ext>
            </a:extLst>
          </p:cNvPr>
          <p:cNvSpPr/>
          <p:nvPr userDrawn="1"/>
        </p:nvSpPr>
        <p:spPr>
          <a:xfrm>
            <a:off x="108143" y="6651906"/>
            <a:ext cx="3967302" cy="277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 xmlns:p15="http://schemas.microsoft.com/office/powerpoint/2012/main" xmlns:p14="http://schemas.microsoft.com/office/powerpoint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xmlns:p15="http://schemas.microsoft.com/office/powerpoint/2012/main" xmlns:p14="http://schemas.microsoft.com/office/powerpoint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 xmlns:p15="http://schemas.microsoft.com/office/powerpoint/2012/main" xmlns:p14="http://schemas.microsoft.com/office/powerpoint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563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© J.D. Power. All Rights Reserved. CONFIDENTIAL &amp; PROPRIETAR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FA00793E-70E8-4CC0-A3D3-B39E7AF835C2}"/>
              </a:ext>
            </a:extLst>
          </p:cNvPr>
          <p:cNvSpPr txBox="1"/>
          <p:nvPr userDrawn="1"/>
        </p:nvSpPr>
        <p:spPr>
          <a:xfrm>
            <a:off x="8721318" y="6451393"/>
            <a:ext cx="367765" cy="257388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6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Helvetica"/>
              </a:defRPr>
            </a:lvl1pPr>
            <a:lvl2pPr marL="0" marR="0" indent="3429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6858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0287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13716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17145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20574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24003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27432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6CB4B4D-7CA3-9044-876B-883B54F8677D}" type="slidenum">
              <a:rPr kumimoji="0" lang="en-US" sz="600" b="0" i="0" u="none" strike="noStrike" cap="none" spc="0" normalizeH="0" baseline="0" smtClean="0">
                <a:ln>
                  <a:noFill/>
                </a:ln>
                <a:solidFill>
                  <a:schemeClr val="accent6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‹#›</a:t>
            </a:fld>
            <a:endParaRPr kumimoji="0" lang="en-US" sz="600" b="0" i="0" u="none" strike="noStrike" cap="none" spc="0" normalizeH="0" baseline="0">
              <a:ln>
                <a:noFill/>
              </a:ln>
              <a:solidFill>
                <a:schemeClr val="accent6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80474958"/>
      </p:ext>
    </p:extLst>
  </p:cSld>
  <p:clrMapOvr>
    <a:masterClrMapping/>
  </p:clrMapOvr>
  <p:transition spd="med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">
            <a:extLst>
              <a:ext uri="{FF2B5EF4-FFF2-40B4-BE49-F238E27FC236}">
                <a16:creationId xmlns:a16="http://schemas.microsoft.com/office/drawing/2014/main" id="{8046F658-5A7F-1346-B08E-083B93F79AF6}"/>
              </a:ext>
            </a:extLst>
          </p:cNvPr>
          <p:cNvSpPr/>
          <p:nvPr userDrawn="1"/>
        </p:nvSpPr>
        <p:spPr>
          <a:xfrm rot="16200000">
            <a:off x="835870" y="-154134"/>
            <a:ext cx="54864" cy="1307504"/>
          </a:xfrm>
          <a:prstGeom prst="rect">
            <a:avLst/>
          </a:prstGeom>
          <a:gradFill>
            <a:gsLst>
              <a:gs pos="0">
                <a:srgbClr val="007FFF"/>
              </a:gs>
              <a:gs pos="100000">
                <a:srgbClr val="21EA70"/>
              </a:gs>
            </a:gsLst>
            <a:lin ang="5400000"/>
          </a:gradFill>
          <a:ln w="12700">
            <a:miter lim="400000"/>
          </a:ln>
        </p:spPr>
        <p:txBody>
          <a:bodyPr lIns="45719" tIns="45719" rIns="45719" bIns="45719" anchor="ctr"/>
          <a:lstStyle/>
          <a:p>
            <a:pPr defTabSz="1828754">
              <a:defRPr sz="3000">
                <a:solidFill>
                  <a:srgbClr val="FFFFFF"/>
                </a:solidFill>
              </a:defRPr>
            </a:pPr>
            <a:endParaRPr sz="3000">
              <a:solidFill>
                <a:schemeClr val="tx1"/>
              </a:solidFill>
            </a:endParaRPr>
          </a:p>
        </p:txBody>
      </p:sp>
      <p:sp>
        <p:nvSpPr>
          <p:cNvPr id="4" name="Title Text">
            <a:extLst>
              <a:ext uri="{FF2B5EF4-FFF2-40B4-BE49-F238E27FC236}">
                <a16:creationId xmlns:a16="http://schemas.microsoft.com/office/drawing/2014/main" id="{E39C4608-91FE-014A-85CD-502A968840E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06732" y="146235"/>
            <a:ext cx="8407233" cy="28531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line / Title goes here, is max 32pt and min 24pt</a:t>
            </a:r>
            <a:endParaRPr/>
          </a:p>
        </p:txBody>
      </p:sp>
      <p:pic>
        <p:nvPicPr>
          <p:cNvPr id="5" name="JDPower_Logo16_red.png">
            <a:extLst>
              <a:ext uri="{FF2B5EF4-FFF2-40B4-BE49-F238E27FC236}">
                <a16:creationId xmlns:a16="http://schemas.microsoft.com/office/drawing/2014/main" id="{94111337-86FB-BC44-803E-F6DBC105EE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8581" y="6451393"/>
            <a:ext cx="868999" cy="185538"/>
          </a:xfrm>
          <a:prstGeom prst="rect">
            <a:avLst/>
          </a:prstGeom>
          <a:ln w="3175">
            <a:miter lim="400000"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B5FCC44-40B7-064E-B907-5104CBD7A14D}"/>
              </a:ext>
            </a:extLst>
          </p:cNvPr>
          <p:cNvSpPr/>
          <p:nvPr userDrawn="1"/>
        </p:nvSpPr>
        <p:spPr>
          <a:xfrm>
            <a:off x="108143" y="6651906"/>
            <a:ext cx="3967302" cy="277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p14="http://schemas.microsoft.com/office/powerpoint/2010/main" xmlns:p15="http://schemas.microsoft.com/office/powerpoint/2012/main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p14="http://schemas.microsoft.com/office/powerpoint/2010/main" xmlns:p15="http://schemas.microsoft.com/office/powerpoint/2012/main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p14="http://schemas.microsoft.com/office/powerpoint/2010/main" xmlns:p15="http://schemas.microsoft.com/office/powerpoint/2012/main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563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© J.D. Power. All Rights Reserved. CONFIDENTIAL &amp; PROPRIETAR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FA00793E-70E8-4CC0-A3D3-B39E7AF835C2}"/>
              </a:ext>
            </a:extLst>
          </p:cNvPr>
          <p:cNvSpPr txBox="1"/>
          <p:nvPr userDrawn="1"/>
        </p:nvSpPr>
        <p:spPr>
          <a:xfrm>
            <a:off x="8721318" y="6451393"/>
            <a:ext cx="367765" cy="257388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6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Helvetica"/>
              </a:defRPr>
            </a:lvl1pPr>
            <a:lvl2pPr marL="0" marR="0" indent="3429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6858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0287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13716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17145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20574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24003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27432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6CB4B4D-7CA3-9044-876B-883B54F8677D}" type="slidenum">
              <a:rPr kumimoji="0" lang="en-US" sz="600" b="0" i="0" u="none" strike="noStrike" cap="none" spc="0" normalizeH="0" baseline="0" smtClean="0">
                <a:ln>
                  <a:noFill/>
                </a:ln>
                <a:solidFill>
                  <a:schemeClr val="accent6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‹#›</a:t>
            </a:fld>
            <a:endParaRPr kumimoji="0" lang="en-US" sz="600" b="0" i="0" u="none" strike="noStrike" cap="none" spc="0" normalizeH="0" baseline="0">
              <a:ln>
                <a:noFill/>
              </a:ln>
              <a:solidFill>
                <a:schemeClr val="accent6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4703348"/>
      </p:ext>
    </p:extLst>
  </p:cSld>
  <p:clrMapOvr>
    <a:masterClrMapping/>
  </p:clrMapOvr>
  <p:transition spd="med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">
            <a:extLst>
              <a:ext uri="{FF2B5EF4-FFF2-40B4-BE49-F238E27FC236}">
                <a16:creationId xmlns:a16="http://schemas.microsoft.com/office/drawing/2014/main" id="{8046F658-5A7F-1346-B08E-083B93F79AF6}"/>
              </a:ext>
            </a:extLst>
          </p:cNvPr>
          <p:cNvSpPr/>
          <p:nvPr userDrawn="1"/>
        </p:nvSpPr>
        <p:spPr>
          <a:xfrm rot="16200000">
            <a:off x="835870" y="-154134"/>
            <a:ext cx="54864" cy="1307504"/>
          </a:xfrm>
          <a:prstGeom prst="rect">
            <a:avLst/>
          </a:prstGeom>
          <a:gradFill>
            <a:gsLst>
              <a:gs pos="0">
                <a:srgbClr val="007FFF"/>
              </a:gs>
              <a:gs pos="100000">
                <a:srgbClr val="21EA70"/>
              </a:gs>
            </a:gsLst>
            <a:lin ang="5400000"/>
          </a:gradFill>
          <a:ln w="12700">
            <a:miter lim="400000"/>
          </a:ln>
        </p:spPr>
        <p:txBody>
          <a:bodyPr lIns="45719" tIns="45719" rIns="45719" bIns="45719" anchor="ctr"/>
          <a:lstStyle/>
          <a:p>
            <a:pPr defTabSz="1828754">
              <a:defRPr sz="3000">
                <a:solidFill>
                  <a:srgbClr val="FFFFFF"/>
                </a:solidFill>
              </a:defRPr>
            </a:pPr>
            <a:endParaRPr sz="3000">
              <a:solidFill>
                <a:schemeClr val="tx1"/>
              </a:solidFill>
            </a:endParaRPr>
          </a:p>
        </p:txBody>
      </p:sp>
      <p:sp>
        <p:nvSpPr>
          <p:cNvPr id="4" name="Title Text">
            <a:extLst>
              <a:ext uri="{FF2B5EF4-FFF2-40B4-BE49-F238E27FC236}">
                <a16:creationId xmlns:a16="http://schemas.microsoft.com/office/drawing/2014/main" id="{E39C4608-91FE-014A-85CD-502A968840E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206732" y="146235"/>
            <a:ext cx="8407233" cy="285311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Headline / Title goes here, is max 32pt and min 24pt</a:t>
            </a:r>
            <a:endParaRPr/>
          </a:p>
        </p:txBody>
      </p:sp>
      <p:pic>
        <p:nvPicPr>
          <p:cNvPr id="5" name="JDPower_Logo16_red.png">
            <a:extLst>
              <a:ext uri="{FF2B5EF4-FFF2-40B4-BE49-F238E27FC236}">
                <a16:creationId xmlns:a16="http://schemas.microsoft.com/office/drawing/2014/main" id="{94111337-86FB-BC44-803E-F6DBC105EE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58581" y="6451393"/>
            <a:ext cx="868999" cy="185538"/>
          </a:xfrm>
          <a:prstGeom prst="rect">
            <a:avLst/>
          </a:prstGeom>
          <a:ln w="3175">
            <a:miter lim="400000"/>
          </a:ln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B5FCC44-40B7-064E-B907-5104CBD7A14D}"/>
              </a:ext>
            </a:extLst>
          </p:cNvPr>
          <p:cNvSpPr/>
          <p:nvPr userDrawn="1"/>
        </p:nvSpPr>
        <p:spPr>
          <a:xfrm>
            <a:off x="108143" y="6651906"/>
            <a:ext cx="3967302" cy="277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p14="http://schemas.microsoft.com/office/powerpoint/2010/main" xmlns:p15="http://schemas.microsoft.com/office/powerpoint/2012/main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p14="http://schemas.microsoft.com/office/powerpoint/2010/main" xmlns:p15="http://schemas.microsoft.com/office/powerpoint/2012/main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p14="http://schemas.microsoft.com/office/powerpoint/2010/main" xmlns:p15="http://schemas.microsoft.com/office/powerpoint/2012/main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37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sz="563" b="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 © J.D. Power. All Rights Reserved. CONFIDENTIAL &amp; PROPRIETARY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FA00793E-70E8-4CC0-A3D3-B39E7AF835C2}"/>
              </a:ext>
            </a:extLst>
          </p:cNvPr>
          <p:cNvSpPr txBox="1"/>
          <p:nvPr userDrawn="1"/>
        </p:nvSpPr>
        <p:spPr>
          <a:xfrm>
            <a:off x="8721318" y="6451393"/>
            <a:ext cx="367765" cy="257388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r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600" b="0" i="0" u="none" strike="noStrike" cap="none" spc="0" normalizeH="0" baseline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Helvetica"/>
              </a:defRPr>
            </a:lvl1pPr>
            <a:lvl2pPr marL="0" marR="0" indent="3429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6858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0287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13716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17145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20574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24003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2743200" algn="l" defTabSz="685800" rtl="0" fontAlgn="auto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 kumimoji="0" sz="13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86CB4B4D-7CA3-9044-876B-883B54F8677D}" type="slidenum">
              <a:rPr kumimoji="0" lang="en-US" sz="600" b="0" i="0" u="none" strike="noStrike" cap="none" spc="0" normalizeH="0" baseline="0" smtClean="0">
                <a:ln>
                  <a:noFill/>
                </a:ln>
                <a:solidFill>
                  <a:schemeClr val="accent6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Arial"/>
              </a:rPr>
              <a:t>‹#›</a:t>
            </a:fld>
            <a:endParaRPr kumimoji="0" lang="en-US" sz="600" b="0" i="0" u="none" strike="noStrike" cap="none" spc="0" normalizeH="0" baseline="0">
              <a:ln>
                <a:noFill/>
              </a:ln>
              <a:solidFill>
                <a:schemeClr val="accent6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75675601"/>
      </p:ext>
    </p:extLst>
  </p:cSld>
  <p:clrMapOvr>
    <a:masterClrMapping/>
  </p:clrMapOvr>
  <p:transition spd="med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DBB204-D606-7F46-C33F-31CCE0D3F76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F266645-71F1-5B77-C0C7-3D083A4A797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CE00590-155B-DA82-B660-36B930373F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6B7295-98A1-4885-BF51-8219D7917737}" type="datetime1">
              <a:rPr lang="en-US" smtClean="0"/>
              <a:t>7/26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3DF7F6-3FDB-9712-3639-E1E3A880C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34CD286-2354-3986-9B21-0D4665A50A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E0641C-0A84-4F57-A488-264A111C13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320818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ceHolder 1"/>
          <p:cNvSpPr>
            <a:spLocks noGrp="1"/>
          </p:cNvSpPr>
          <p:nvPr>
            <p:ph type="title"/>
          </p:nvPr>
        </p:nvSpPr>
        <p:spPr>
          <a:xfrm>
            <a:off x="457110" y="617476"/>
            <a:ext cx="8229330" cy="45704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en-IN" sz="3300" b="0" strike="noStrike" spc="-1" dirty="0">
              <a:latin typeface="Arial"/>
            </a:endParaRPr>
          </a:p>
        </p:txBody>
      </p:sp>
      <p:sp>
        <p:nvSpPr>
          <p:cNvPr id="6" name="PlaceHolder 2"/>
          <p:cNvSpPr>
            <a:spLocks noGrp="1"/>
          </p:cNvSpPr>
          <p:nvPr>
            <p:ph type="subTitle"/>
          </p:nvPr>
        </p:nvSpPr>
        <p:spPr>
          <a:xfrm>
            <a:off x="457110" y="3405801"/>
            <a:ext cx="8229330" cy="3747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en-IN" sz="24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3618651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ceHolder 1"/>
          <p:cNvSpPr>
            <a:spLocks noGrp="1"/>
          </p:cNvSpPr>
          <p:nvPr>
            <p:ph type="title"/>
          </p:nvPr>
        </p:nvSpPr>
        <p:spPr>
          <a:xfrm>
            <a:off x="457110" y="617476"/>
            <a:ext cx="8229330" cy="45704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en-IN" sz="3300" b="0" strike="noStrike" spc="-1">
              <a:latin typeface="Arial"/>
            </a:endParaRPr>
          </a:p>
        </p:txBody>
      </p:sp>
      <p:sp>
        <p:nvSpPr>
          <p:cNvPr id="8" name="PlaceHolder 2"/>
          <p:cNvSpPr>
            <a:spLocks noGrp="1"/>
          </p:cNvSpPr>
          <p:nvPr>
            <p:ph type="body"/>
          </p:nvPr>
        </p:nvSpPr>
        <p:spPr>
          <a:xfrm>
            <a:off x="457110" y="1604520"/>
            <a:ext cx="822933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en-IN" sz="24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685432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ay">
    <p:bg>
      <p:bgPr>
        <a:solidFill>
          <a:srgbClr val="DBD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">
            <a:extLst>
              <a:ext uri="{FF2B5EF4-FFF2-40B4-BE49-F238E27FC236}">
                <a16:creationId xmlns:a16="http://schemas.microsoft.com/office/drawing/2014/main" id="{398504CC-7A82-FB4C-A4B1-3D8E3DAA21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10" name="PECO" descr="PECO: An Exelon Company">
            <a:extLst>
              <a:ext uri="{FF2B5EF4-FFF2-40B4-BE49-F238E27FC236}">
                <a16:creationId xmlns:a16="http://schemas.microsoft.com/office/drawing/2014/main" id="{B0E25EAB-0119-8448-BC02-9964B93EDA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9" y="203203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8458200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2531" b="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4846320"/>
            <a:ext cx="84582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9pPr>
          </a:lstStyle>
          <a:p>
            <a:r>
              <a:rPr lang="en-US"/>
              <a:t>[Business Unit | Presenter Name]</a:t>
            </a:r>
          </a:p>
        </p:txBody>
      </p:sp>
    </p:spTree>
    <p:extLst>
      <p:ext uri="{BB962C8B-B14F-4D97-AF65-F5344CB8AC3E}">
        <p14:creationId xmlns:p14="http://schemas.microsoft.com/office/powerpoint/2010/main" val="13014226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ceHolder 1"/>
          <p:cNvSpPr>
            <a:spLocks noGrp="1"/>
          </p:cNvSpPr>
          <p:nvPr>
            <p:ph type="title"/>
          </p:nvPr>
        </p:nvSpPr>
        <p:spPr>
          <a:xfrm>
            <a:off x="457110" y="617476"/>
            <a:ext cx="8229330" cy="45704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en-IN" sz="3300" b="0" strike="noStrike" spc="-1" dirty="0">
              <a:latin typeface="Arial"/>
            </a:endParaRPr>
          </a:p>
        </p:txBody>
      </p:sp>
      <p:sp>
        <p:nvSpPr>
          <p:cNvPr id="6" name="PlaceHolder 2"/>
          <p:cNvSpPr>
            <a:spLocks noGrp="1"/>
          </p:cNvSpPr>
          <p:nvPr>
            <p:ph type="subTitle"/>
          </p:nvPr>
        </p:nvSpPr>
        <p:spPr>
          <a:xfrm>
            <a:off x="457110" y="3405801"/>
            <a:ext cx="8229330" cy="3747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en-IN" sz="24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7240458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ceHolder 1"/>
          <p:cNvSpPr>
            <a:spLocks noGrp="1"/>
          </p:cNvSpPr>
          <p:nvPr>
            <p:ph type="title"/>
          </p:nvPr>
        </p:nvSpPr>
        <p:spPr>
          <a:xfrm>
            <a:off x="457110" y="617476"/>
            <a:ext cx="8229330" cy="45704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en-IN" sz="3300" b="0" strike="noStrike" spc="-1" dirty="0">
              <a:latin typeface="Arial"/>
            </a:endParaRPr>
          </a:p>
        </p:txBody>
      </p:sp>
      <p:sp>
        <p:nvSpPr>
          <p:cNvPr id="6" name="PlaceHolder 2"/>
          <p:cNvSpPr>
            <a:spLocks noGrp="1"/>
          </p:cNvSpPr>
          <p:nvPr>
            <p:ph type="subTitle"/>
          </p:nvPr>
        </p:nvSpPr>
        <p:spPr>
          <a:xfrm>
            <a:off x="457110" y="3405801"/>
            <a:ext cx="8229330" cy="3747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en-IN" sz="24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77186412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ceHolder 1"/>
          <p:cNvSpPr>
            <a:spLocks noGrp="1"/>
          </p:cNvSpPr>
          <p:nvPr>
            <p:ph type="title"/>
          </p:nvPr>
        </p:nvSpPr>
        <p:spPr>
          <a:xfrm>
            <a:off x="457110" y="617476"/>
            <a:ext cx="8229330" cy="45704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en-IN" sz="3300" b="0" strike="noStrike" spc="-1" dirty="0">
              <a:latin typeface="Arial"/>
            </a:endParaRPr>
          </a:p>
        </p:txBody>
      </p:sp>
      <p:sp>
        <p:nvSpPr>
          <p:cNvPr id="6" name="PlaceHolder 2"/>
          <p:cNvSpPr>
            <a:spLocks noGrp="1"/>
          </p:cNvSpPr>
          <p:nvPr>
            <p:ph type="subTitle"/>
          </p:nvPr>
        </p:nvSpPr>
        <p:spPr>
          <a:xfrm>
            <a:off x="457110" y="3405801"/>
            <a:ext cx="8229330" cy="3747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en-IN" sz="24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115319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ceHolder 1"/>
          <p:cNvSpPr>
            <a:spLocks noGrp="1"/>
          </p:cNvSpPr>
          <p:nvPr>
            <p:ph type="title"/>
          </p:nvPr>
        </p:nvSpPr>
        <p:spPr>
          <a:xfrm>
            <a:off x="457110" y="617476"/>
            <a:ext cx="8229330" cy="45704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en-IN" sz="3300" b="0" strike="noStrike" spc="-1" dirty="0">
              <a:latin typeface="Arial"/>
            </a:endParaRPr>
          </a:p>
        </p:txBody>
      </p:sp>
      <p:sp>
        <p:nvSpPr>
          <p:cNvPr id="6" name="PlaceHolder 2"/>
          <p:cNvSpPr>
            <a:spLocks noGrp="1"/>
          </p:cNvSpPr>
          <p:nvPr>
            <p:ph type="subTitle"/>
          </p:nvPr>
        </p:nvSpPr>
        <p:spPr>
          <a:xfrm>
            <a:off x="457110" y="3405801"/>
            <a:ext cx="8229330" cy="3747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en-IN" sz="24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5207270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ceHolder 1"/>
          <p:cNvSpPr>
            <a:spLocks noGrp="1"/>
          </p:cNvSpPr>
          <p:nvPr>
            <p:ph type="title"/>
          </p:nvPr>
        </p:nvSpPr>
        <p:spPr>
          <a:xfrm>
            <a:off x="457110" y="617476"/>
            <a:ext cx="8229330" cy="45704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en-IN" sz="3300" b="0" strike="noStrike" spc="-1" dirty="0">
              <a:latin typeface="Arial"/>
            </a:endParaRPr>
          </a:p>
        </p:txBody>
      </p:sp>
      <p:sp>
        <p:nvSpPr>
          <p:cNvPr id="6" name="PlaceHolder 2"/>
          <p:cNvSpPr>
            <a:spLocks noGrp="1"/>
          </p:cNvSpPr>
          <p:nvPr>
            <p:ph type="subTitle"/>
          </p:nvPr>
        </p:nvSpPr>
        <p:spPr>
          <a:xfrm>
            <a:off x="457110" y="3405801"/>
            <a:ext cx="8229330" cy="3747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en-IN" sz="24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0660499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gradFill>
          <a:gsLst>
            <a:gs pos="100000">
              <a:srgbClr val="6E06C1"/>
            </a:gs>
            <a:gs pos="65000">
              <a:srgbClr val="170D67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">
            <a:extLst>
              <a:ext uri="{FF2B5EF4-FFF2-40B4-BE49-F238E27FC236}">
                <a16:creationId xmlns:a16="http://schemas.microsoft.com/office/drawing/2014/main" id="{350772A3-E462-9C4A-9452-404AE4ACB8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57" t="812" r="28978" b="33971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9" name="PECO" descr="PECO: An Exelon Company">
            <a:extLst>
              <a:ext uri="{FF2B5EF4-FFF2-40B4-BE49-F238E27FC236}">
                <a16:creationId xmlns:a16="http://schemas.microsoft.com/office/drawing/2014/main" id="{EABD70D4-68D7-0C45-A49B-5ECE9926710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50127" y="203199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8458200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75" b="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4846320"/>
            <a:ext cx="84582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4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4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4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4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4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4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4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4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4"/>
                </a:solidFill>
                <a:latin typeface="+mn-lt"/>
              </a:defRPr>
            </a:lvl9pPr>
          </a:lstStyle>
          <a:p>
            <a:r>
              <a:rPr lang="en-US"/>
              <a:t>[Business Unit | Presenter Name]</a:t>
            </a:r>
          </a:p>
        </p:txBody>
      </p:sp>
    </p:spTree>
    <p:extLst>
      <p:ext uri="{BB962C8B-B14F-4D97-AF65-F5344CB8AC3E}">
        <p14:creationId xmlns:p14="http://schemas.microsoft.com/office/powerpoint/2010/main" val="29312120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Gray">
    <p:bg>
      <p:bgPr>
        <a:solidFill>
          <a:srgbClr val="DBD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">
            <a:extLst>
              <a:ext uri="{FF2B5EF4-FFF2-40B4-BE49-F238E27FC236}">
                <a16:creationId xmlns:a16="http://schemas.microsoft.com/office/drawing/2014/main" id="{398504CC-7A82-FB4C-A4B1-3D8E3DAA21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10" name="PECO" descr="PECO: An Exelon Company">
            <a:extLst>
              <a:ext uri="{FF2B5EF4-FFF2-40B4-BE49-F238E27FC236}">
                <a16:creationId xmlns:a16="http://schemas.microsoft.com/office/drawing/2014/main" id="{B0E25EAB-0119-8448-BC02-9964B93EDA1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7" y="203199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8458200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75" b="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4846320"/>
            <a:ext cx="84582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9pPr>
          </a:lstStyle>
          <a:p>
            <a:r>
              <a:rPr lang="en-US"/>
              <a:t>[Business Unit | Presenter Name]</a:t>
            </a:r>
          </a:p>
        </p:txBody>
      </p:sp>
    </p:spTree>
    <p:extLst>
      <p:ext uri="{BB962C8B-B14F-4D97-AF65-F5344CB8AC3E}">
        <p14:creationId xmlns:p14="http://schemas.microsoft.com/office/powerpoint/2010/main" val="17306923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">
            <a:extLst>
              <a:ext uri="{FF2B5EF4-FFF2-40B4-BE49-F238E27FC236}">
                <a16:creationId xmlns:a16="http://schemas.microsoft.com/office/drawing/2014/main" id="{CC994166-3B1A-384C-BF72-C2F43D019E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7" name="PECO" descr="PECO: An Exelon Company">
            <a:extLst>
              <a:ext uri="{FF2B5EF4-FFF2-40B4-BE49-F238E27FC236}">
                <a16:creationId xmlns:a16="http://schemas.microsoft.com/office/drawing/2014/main" id="{0337147C-8E55-D348-B558-D94AB4A9E8E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7" y="203199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8458200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75" b="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4846320"/>
            <a:ext cx="84582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9pPr>
          </a:lstStyle>
          <a:p>
            <a:r>
              <a:rPr lang="en-US"/>
              <a:t>[Business Unit | Presenter Name]</a:t>
            </a:r>
          </a:p>
        </p:txBody>
      </p:sp>
    </p:spTree>
    <p:extLst>
      <p:ext uri="{BB962C8B-B14F-4D97-AF65-F5344CB8AC3E}">
        <p14:creationId xmlns:p14="http://schemas.microsoft.com/office/powerpoint/2010/main" val="42503660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Full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ECO" descr="PECO: An Exelon Company">
            <a:extLst>
              <a:ext uri="{FF2B5EF4-FFF2-40B4-BE49-F238E27FC236}">
                <a16:creationId xmlns:a16="http://schemas.microsoft.com/office/drawing/2014/main" id="{D3FFAE08-AF81-7940-BB58-65CD3319B1A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50127" y="203199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8458200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75" b="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4846320"/>
            <a:ext cx="84582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/>
              <a:t>[Business Unit | Presenter Name]</a:t>
            </a:r>
          </a:p>
        </p:txBody>
      </p:sp>
    </p:spTree>
    <p:extLst>
      <p:ext uri="{BB962C8B-B14F-4D97-AF65-F5344CB8AC3E}">
        <p14:creationId xmlns:p14="http://schemas.microsoft.com/office/powerpoint/2010/main" val="42814042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Half Photo">
    <p:bg>
      <p:bgPr>
        <a:gradFill>
          <a:gsLst>
            <a:gs pos="100000">
              <a:srgbClr val="6E06C1"/>
            </a:gs>
            <a:gs pos="65000">
              <a:srgbClr val="170D67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ECO" descr="PECO: An Exelon Company">
            <a:extLst>
              <a:ext uri="{FF2B5EF4-FFF2-40B4-BE49-F238E27FC236}">
                <a16:creationId xmlns:a16="http://schemas.microsoft.com/office/drawing/2014/main" id="{B950E78D-63B6-0549-BC3F-812F4C4877E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50127" y="203199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4114800" cy="246888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75" b="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5669280"/>
            <a:ext cx="41148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[Business Unit | Presenter Name]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98FF03FD-D721-FE49-9958-D1D94DE75B8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6300" y="0"/>
            <a:ext cx="4457700" cy="6858000"/>
          </a:xfrm>
          <a:solidFill>
            <a:srgbClr val="8B86B3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563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551981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">
            <a:extLst>
              <a:ext uri="{FF2B5EF4-FFF2-40B4-BE49-F238E27FC236}">
                <a16:creationId xmlns:a16="http://schemas.microsoft.com/office/drawing/2014/main" id="{CC994166-3B1A-384C-BF72-C2F43D019E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7" name="PECO" descr="PECO: An Exelon Company">
            <a:extLst>
              <a:ext uri="{FF2B5EF4-FFF2-40B4-BE49-F238E27FC236}">
                <a16:creationId xmlns:a16="http://schemas.microsoft.com/office/drawing/2014/main" id="{0337147C-8E55-D348-B558-D94AB4A9E8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9" y="203203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8458200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2531" b="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4846320"/>
            <a:ext cx="84582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9pPr>
          </a:lstStyle>
          <a:p>
            <a:r>
              <a:rPr lang="en-US"/>
              <a:t>[Business Unit | Presenter Name]</a:t>
            </a:r>
          </a:p>
        </p:txBody>
      </p:sp>
      <p:sp>
        <p:nvSpPr>
          <p:cNvPr id="8" name="Legal">
            <a:extLst>
              <a:ext uri="{FF2B5EF4-FFF2-40B4-BE49-F238E27FC236}">
                <a16:creationId xmlns:a16="http://schemas.microsoft.com/office/drawing/2014/main" id="{70A2AE62-C586-43C5-9399-EABCF14AE0EA}"/>
              </a:ext>
            </a:extLst>
          </p:cNvPr>
          <p:cNvSpPr txBox="1"/>
          <p:nvPr userDrawn="1"/>
        </p:nvSpPr>
        <p:spPr>
          <a:xfrm>
            <a:off x="342900" y="6400800"/>
            <a:ext cx="4114800" cy="182880"/>
          </a:xfrm>
          <a:prstGeom prst="rect">
            <a:avLst/>
          </a:prstGeom>
          <a:noFill/>
        </p:spPr>
        <p:txBody>
          <a:bodyPr wrap="square" lIns="0" tIns="0" rIns="0" bIns="3858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338"/>
              <a:t>Privileged and Confidential – Prepared at the Request of Counsel / Attorney Work Product</a:t>
            </a:r>
          </a:p>
        </p:txBody>
      </p:sp>
    </p:spTree>
    <p:extLst>
      <p:ext uri="{BB962C8B-B14F-4D97-AF65-F5344CB8AC3E}">
        <p14:creationId xmlns:p14="http://schemas.microsoft.com/office/powerpoint/2010/main" val="1710180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Half Photo - Gray">
    <p:bg>
      <p:bgPr>
        <a:solidFill>
          <a:srgbClr val="DBD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ECO" descr="PECO: An Exelon Company">
            <a:extLst>
              <a:ext uri="{FF2B5EF4-FFF2-40B4-BE49-F238E27FC236}">
                <a16:creationId xmlns:a16="http://schemas.microsoft.com/office/drawing/2014/main" id="{D5CD640B-AC26-B142-8006-813CBDFF630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7" y="203199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4114800" cy="246888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75" b="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5669280"/>
            <a:ext cx="41148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9pPr>
          </a:lstStyle>
          <a:p>
            <a:r>
              <a:rPr lang="en-US"/>
              <a:t>[Business Unit | Presenter Name]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98FF03FD-D721-FE49-9958-D1D94DE75B8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6300" y="0"/>
            <a:ext cx="4457700" cy="6858000"/>
          </a:xfrm>
          <a:solidFill>
            <a:srgbClr val="8B86B3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56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601258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Half Photo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ECO" descr="PECO: An Exelon Company">
            <a:extLst>
              <a:ext uri="{FF2B5EF4-FFF2-40B4-BE49-F238E27FC236}">
                <a16:creationId xmlns:a16="http://schemas.microsoft.com/office/drawing/2014/main" id="{978A3E00-AD7C-BD48-9BF7-B043332D2B9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7" y="203199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013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4114800" cy="246888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75" b="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5669280"/>
            <a:ext cx="41148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125" b="0">
                <a:solidFill>
                  <a:schemeClr val="accent2"/>
                </a:solidFill>
                <a:latin typeface="+mn-lt"/>
              </a:defRPr>
            </a:lvl9pPr>
          </a:lstStyle>
          <a:p>
            <a:r>
              <a:rPr lang="en-US"/>
              <a:t>[Business Unit | Presenter Name]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98FF03FD-D721-FE49-9958-D1D94DE75B8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6300" y="0"/>
            <a:ext cx="4457700" cy="685800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56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3405980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B5CCE3BE-287D-5C40-8E88-33DE08CE2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E9F1870-3C4F-E343-9315-9272E669690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42901" y="1737360"/>
            <a:ext cx="7012781" cy="4480560"/>
          </a:xfrm>
        </p:spPr>
        <p:txBody>
          <a:bodyPr/>
          <a:lstStyle>
            <a:lvl1pPr marL="257175" indent="-257175">
              <a:buFont typeface="+mj-lt"/>
              <a:buAutoNum type="arabicPeriod"/>
              <a:defRPr sz="1350"/>
            </a:lvl1pPr>
            <a:lvl2pPr marL="385763" indent="-128588">
              <a:buFont typeface="Arial" panose="020B0604020202020204" pitchFamily="34" charset="0"/>
              <a:buChar char="–"/>
              <a:defRPr sz="900"/>
            </a:lvl2pPr>
            <a:lvl3pPr marL="514350" indent="-128588">
              <a:buFont typeface="Arial" panose="020B0604020202020204" pitchFamily="34" charset="0"/>
              <a:buChar char="–"/>
              <a:defRPr sz="900"/>
            </a:lvl3pPr>
            <a:lvl4pPr marL="642938" indent="-128588">
              <a:buFont typeface="Arial" panose="020B0604020202020204" pitchFamily="34" charset="0"/>
              <a:buChar char="–"/>
              <a:defRPr sz="900"/>
            </a:lvl4pPr>
            <a:lvl5pPr marL="771525" indent="-128588">
              <a:buFont typeface="Arial" panose="020B0604020202020204" pitchFamily="34" charset="0"/>
              <a:buChar char="–"/>
              <a:defRPr sz="900"/>
            </a:lvl5pPr>
            <a:lvl6pPr marL="900113" indent="-128588">
              <a:buFont typeface="Arial" panose="020B0604020202020204" pitchFamily="34" charset="0"/>
              <a:buChar char="–"/>
              <a:defRPr sz="900"/>
            </a:lvl6pPr>
            <a:lvl7pPr marL="1028700" indent="-128588">
              <a:buFont typeface="Arial" panose="020B0604020202020204" pitchFamily="34" charset="0"/>
              <a:buChar char="–"/>
              <a:defRPr sz="900"/>
            </a:lvl7pPr>
            <a:lvl8pPr marL="1157288" indent="-128588">
              <a:buFont typeface="Arial" panose="020B0604020202020204" pitchFamily="34" charset="0"/>
              <a:buChar char="–"/>
              <a:defRPr sz="900"/>
            </a:lvl8pPr>
            <a:lvl9pPr marL="1285875" indent="-128588">
              <a:buFont typeface="Arial" panose="020B0604020202020204" pitchFamily="34" charset="0"/>
              <a:buChar char="–"/>
              <a:defRPr sz="900"/>
            </a:lvl9pPr>
          </a:lstStyle>
          <a:p>
            <a:pPr lvl="0"/>
            <a:r>
              <a:rPr lang="en-US"/>
              <a:t>[Agenda item]</a:t>
            </a:r>
          </a:p>
          <a:p>
            <a:pPr lvl="1"/>
            <a:r>
              <a:rPr lang="en-US"/>
              <a:t>[Agenda sub-item]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962240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6" orient="horz" pos="1092">
          <p15:clr>
            <a:srgbClr val="A4A3A4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bg>
      <p:bgPr>
        <a:gradFill>
          <a:gsLst>
            <a:gs pos="100000">
              <a:srgbClr val="6E06C1"/>
            </a:gs>
            <a:gs pos="65000">
              <a:srgbClr val="170D67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">
            <a:extLst>
              <a:ext uri="{FF2B5EF4-FFF2-40B4-BE49-F238E27FC236}">
                <a16:creationId xmlns:a16="http://schemas.microsoft.com/office/drawing/2014/main" id="{B078EA1A-886B-D948-BAAC-EBBBB34BC5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57" t="812" r="28978" b="33971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55B0C33-1FF8-8D45-92A3-4C74289F1F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ltGray">
          <a:xfrm>
            <a:off x="340520" y="454024"/>
            <a:ext cx="2669381" cy="1371600"/>
          </a:xfrm>
        </p:spPr>
        <p:txBody>
          <a:bodyPr wrap="none" tIns="45720" rIns="0" bIns="0" anchor="t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2pPr>
            <a:lvl3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3pPr>
            <a:lvl4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4pPr>
            <a:lvl5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5pPr>
            <a:lvl6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6pPr>
            <a:lvl7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7pPr>
            <a:lvl8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8pPr>
            <a:lvl9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9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641D334-3DBF-4D13-804B-67B29A3D48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520" y="2926080"/>
            <a:ext cx="8460581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75" b="0">
                <a:solidFill>
                  <a:schemeClr val="tx1"/>
                </a:solidFill>
              </a:defRPr>
            </a:lvl1pPr>
          </a:lstStyle>
          <a:p>
            <a:r>
              <a:rPr lang="en-US"/>
              <a:t>[Section header title]</a:t>
            </a:r>
          </a:p>
        </p:txBody>
      </p:sp>
    </p:spTree>
    <p:extLst>
      <p:ext uri="{BB962C8B-B14F-4D97-AF65-F5344CB8AC3E}">
        <p14:creationId xmlns:p14="http://schemas.microsoft.com/office/powerpoint/2010/main" val="28263262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Gray">
    <p:bg>
      <p:bgPr>
        <a:solidFill>
          <a:srgbClr val="DBD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">
            <a:extLst>
              <a:ext uri="{FF2B5EF4-FFF2-40B4-BE49-F238E27FC236}">
                <a16:creationId xmlns:a16="http://schemas.microsoft.com/office/drawing/2014/main" id="{EC80D5FA-D7D6-344C-8305-FC61A0FD9D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55B0C33-1FF8-8D45-92A3-4C74289F1F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ltGray">
          <a:xfrm>
            <a:off x="340520" y="454024"/>
            <a:ext cx="2669381" cy="1371600"/>
          </a:xfrm>
        </p:spPr>
        <p:txBody>
          <a:bodyPr wrap="none" tIns="45720" rIns="0" bIns="0" anchor="t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2pPr>
            <a:lvl3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3pPr>
            <a:lvl4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4pPr>
            <a:lvl5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5pPr>
            <a:lvl6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6pPr>
            <a:lvl7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7pPr>
            <a:lvl8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8pPr>
            <a:lvl9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9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641D334-3DBF-4D13-804B-67B29A3D48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520" y="2926080"/>
            <a:ext cx="8460581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75" b="0">
                <a:solidFill>
                  <a:schemeClr val="tx1"/>
                </a:solidFill>
              </a:defRPr>
            </a:lvl1pPr>
          </a:lstStyle>
          <a:p>
            <a:r>
              <a:rPr lang="en-US"/>
              <a:t>[Section header title]</a:t>
            </a:r>
          </a:p>
        </p:txBody>
      </p:sp>
    </p:spTree>
    <p:extLst>
      <p:ext uri="{BB962C8B-B14F-4D97-AF65-F5344CB8AC3E}">
        <p14:creationId xmlns:p14="http://schemas.microsoft.com/office/powerpoint/2010/main" val="33536887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">
            <a:extLst>
              <a:ext uri="{FF2B5EF4-FFF2-40B4-BE49-F238E27FC236}">
                <a16:creationId xmlns:a16="http://schemas.microsoft.com/office/drawing/2014/main" id="{93E71FEF-77B6-5241-81B1-D0D833923F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55B0C33-1FF8-8D45-92A3-4C74289F1F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ltGray">
          <a:xfrm>
            <a:off x="340520" y="454024"/>
            <a:ext cx="2669381" cy="1371600"/>
          </a:xfrm>
        </p:spPr>
        <p:txBody>
          <a:bodyPr wrap="none" tIns="45720" rIns="0" bIns="0" anchor="t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2pPr>
            <a:lvl3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3pPr>
            <a:lvl4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4pPr>
            <a:lvl5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5pPr>
            <a:lvl6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6pPr>
            <a:lvl7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7pPr>
            <a:lvl8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8pPr>
            <a:lvl9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5400" b="0" spc="0" baseline="0">
                <a:solidFill>
                  <a:srgbClr val="8B86B3"/>
                </a:solidFill>
                <a:latin typeface="+mj-lt"/>
              </a:defRPr>
            </a:lvl9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641D334-3DBF-4D13-804B-67B29A3D48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520" y="2926080"/>
            <a:ext cx="8460581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75" b="0">
                <a:solidFill>
                  <a:schemeClr val="tx1"/>
                </a:solidFill>
              </a:defRPr>
            </a:lvl1pPr>
          </a:lstStyle>
          <a:p>
            <a:r>
              <a:rPr lang="en-US"/>
              <a:t>[Section header title]</a:t>
            </a:r>
          </a:p>
        </p:txBody>
      </p:sp>
    </p:spTree>
    <p:extLst>
      <p:ext uri="{BB962C8B-B14F-4D97-AF65-F5344CB8AC3E}">
        <p14:creationId xmlns:p14="http://schemas.microsoft.com/office/powerpoint/2010/main" val="41934325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 Intr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41D334-3DBF-4D13-804B-67B29A3D48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520" y="1737358"/>
            <a:ext cx="5567363" cy="18288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2475" b="1">
                <a:solidFill>
                  <a:schemeClr val="tx1"/>
                </a:solidFill>
              </a:defRPr>
            </a:lvl1pPr>
          </a:lstStyle>
          <a:p>
            <a:r>
              <a:rPr lang="en-US"/>
              <a:t>[Speaker intro subject title]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1B685121-0D7D-4F48-835F-6C4245E490B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0519" y="3931920"/>
            <a:ext cx="5567363" cy="91440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013" b="1"/>
            </a:lvl1pPr>
            <a:lvl2pPr marL="0" indent="0">
              <a:spcBef>
                <a:spcPts val="0"/>
              </a:spcBef>
              <a:buFontTx/>
              <a:buNone/>
              <a:defRPr sz="1013"/>
            </a:lvl2pPr>
            <a:lvl3pPr marL="128588" indent="-128588">
              <a:spcBef>
                <a:spcPts val="675"/>
              </a:spcBef>
              <a:buFont typeface="Arial" panose="020B0604020202020204" pitchFamily="34" charset="0"/>
              <a:buChar char="•"/>
              <a:defRPr/>
            </a:lvl3pPr>
            <a:lvl4pPr marL="257175">
              <a:defRPr/>
            </a:lvl4pPr>
            <a:lvl5pPr marL="385763" indent="-128588">
              <a:buFont typeface="Arial" panose="020B0604020202020204" pitchFamily="34" charset="0"/>
              <a:buChar char="»"/>
              <a:defRPr/>
            </a:lvl5pPr>
            <a:lvl6pPr marL="514350" indent="-128588">
              <a:buFont typeface="Arial" panose="020B0604020202020204" pitchFamily="34" charset="0"/>
              <a:buChar char="–"/>
              <a:defRPr/>
            </a:lvl6pPr>
            <a:lvl7pPr marL="642938" indent="-128588">
              <a:buFont typeface="Arial" panose="020B0604020202020204" pitchFamily="34" charset="0"/>
              <a:buChar char="–"/>
              <a:defRPr/>
            </a:lvl7pPr>
            <a:lvl8pPr marL="771525" indent="-128588">
              <a:buFont typeface="Arial" panose="020B0604020202020204" pitchFamily="34" charset="0"/>
              <a:buChar char="–"/>
              <a:defRPr/>
            </a:lvl8pPr>
            <a:lvl9pPr marL="900113" indent="-128588">
              <a:buFont typeface="Arial" panose="020B0604020202020204" pitchFamily="34" charset="0"/>
              <a:buChar char="–"/>
              <a:defRPr/>
            </a:lvl9pPr>
          </a:lstStyle>
          <a:p>
            <a:pPr lvl="0"/>
            <a:r>
              <a:rPr lang="en-US"/>
              <a:t>[Speaker Name]</a:t>
            </a:r>
          </a:p>
          <a:p>
            <a:pPr lvl="1"/>
            <a:r>
              <a:rPr lang="en-US"/>
              <a:t>[Speaker Title]</a:t>
            </a:r>
          </a:p>
        </p:txBody>
      </p:sp>
    </p:spTree>
    <p:extLst>
      <p:ext uri="{BB962C8B-B14F-4D97-AF65-F5344CB8AC3E}">
        <p14:creationId xmlns:p14="http://schemas.microsoft.com/office/powerpoint/2010/main" val="26997008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F331AC2-8E74-B243-8FDB-48E8D9AFE7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847E393-D3B7-8747-BD90-FFF722B7FC5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1" y="1737360"/>
            <a:ext cx="7012781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48960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22C30B5-3792-4E4B-A88E-9EB993E202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DA05FDA-F191-8E4B-9D3F-39F03BD735B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0" y="1737360"/>
            <a:ext cx="4114800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1B7D16F-A467-AD46-BFD4-6949827D3F4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686300" y="1737360"/>
            <a:ext cx="4112514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99336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hoto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22C30B5-3792-4E4B-A88E-9EB993E202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8003119E-6ED5-A04F-A9CB-BCB26099308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2900" y="1737358"/>
            <a:ext cx="4114800" cy="297180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56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9DA05FDA-F191-8E4B-9D3F-39F03BD735B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0" y="4937760"/>
            <a:ext cx="4114800" cy="1280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4D0CAF51-2B50-154B-BC7A-BF332C4DFDA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6300" y="1737358"/>
            <a:ext cx="4114800" cy="297180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56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C1B7D16F-A467-AD46-BFD4-6949827D3F4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686300" y="4937760"/>
            <a:ext cx="4114800" cy="1280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91855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108">
          <p15:clr>
            <a:srgbClr val="A4A3A4"/>
          </p15:clr>
        </p15:guide>
        <p15:guide id="2" orient="horz" pos="2968">
          <p15:clr>
            <a:srgbClr val="A4A3A4"/>
          </p15:clr>
        </p15:guide>
        <p15:guide id="3" orient="horz" pos="1092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Full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ECO" descr="PECO: An Exelon Company">
            <a:extLst>
              <a:ext uri="{FF2B5EF4-FFF2-40B4-BE49-F238E27FC236}">
                <a16:creationId xmlns:a16="http://schemas.microsoft.com/office/drawing/2014/main" id="{D3FFAE08-AF81-7940-BB58-65CD3319B1A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50129" y="203203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8458200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2531" b="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4846320"/>
            <a:ext cx="84582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/>
              <a:t>[Business Unit | Presenter Name]</a:t>
            </a:r>
          </a:p>
        </p:txBody>
      </p:sp>
    </p:spTree>
    <p:extLst>
      <p:ext uri="{BB962C8B-B14F-4D97-AF65-F5344CB8AC3E}">
        <p14:creationId xmlns:p14="http://schemas.microsoft.com/office/powerpoint/2010/main" val="3143539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9F140ED-A954-D843-87E1-8E636778CB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A87E07-D230-4A2B-90EB-BAFE34A4AD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42901" y="1737360"/>
            <a:ext cx="2666999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F30D3B-DD55-43C0-9A96-3AC11E0112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238502" y="1737360"/>
            <a:ext cx="2669381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E7CE142-0CA8-FE44-AEBE-6EA0C0C5956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136482" y="1737360"/>
            <a:ext cx="2662332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13999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hoto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AE667E5-98EE-5349-8A56-61BA231EA6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1" y="457200"/>
            <a:ext cx="7012781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3F6B296F-04BC-6341-B4FE-0C06D815992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2900" y="1737358"/>
            <a:ext cx="2667000" cy="2377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56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F2A87E07-D230-4A2B-90EB-BAFE34A4AD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42900" y="4343403"/>
            <a:ext cx="2667000" cy="1874519"/>
          </a:xfrm>
        </p:spPr>
        <p:txBody>
          <a:bodyPr/>
          <a:lstStyle>
            <a:lvl1pPr marL="102870" indent="-102870">
              <a:defRPr sz="788"/>
            </a:lvl1pPr>
            <a:lvl2pPr marL="205740" indent="-102870">
              <a:defRPr sz="788"/>
            </a:lvl2pPr>
            <a:lvl3pPr marL="308610" indent="-102870">
              <a:defRPr sz="788"/>
            </a:lvl3pPr>
            <a:lvl4pPr marL="411480" indent="-102870">
              <a:defRPr sz="788"/>
            </a:lvl4pPr>
            <a:lvl5pPr marL="514350" indent="-102870">
              <a:defRPr sz="788"/>
            </a:lvl5pPr>
            <a:lvl6pPr marL="617220" indent="-102870">
              <a:defRPr sz="788"/>
            </a:lvl6pPr>
            <a:lvl7pPr marL="720090" indent="-102870">
              <a:defRPr sz="788"/>
            </a:lvl7pPr>
            <a:lvl8pPr marL="822960" indent="-102870">
              <a:defRPr sz="788"/>
            </a:lvl8pPr>
            <a:lvl9pPr marL="925830" indent="-102870">
              <a:defRPr sz="78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68B1F4A6-D35D-314A-8458-FAACCF02778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38501" y="1737358"/>
            <a:ext cx="2669381" cy="2377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56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CFF30D3B-DD55-43C0-9A96-3AC11E0112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238502" y="4343403"/>
            <a:ext cx="2669381" cy="1874519"/>
          </a:xfrm>
        </p:spPr>
        <p:txBody>
          <a:bodyPr/>
          <a:lstStyle>
            <a:lvl1pPr marL="102870" indent="-102870">
              <a:defRPr sz="788"/>
            </a:lvl1pPr>
            <a:lvl2pPr marL="205740" indent="-102870">
              <a:defRPr sz="788"/>
            </a:lvl2pPr>
            <a:lvl3pPr marL="308610" indent="-102870">
              <a:defRPr sz="788"/>
            </a:lvl3pPr>
            <a:lvl4pPr marL="411480" indent="-102870">
              <a:defRPr sz="788"/>
            </a:lvl4pPr>
            <a:lvl5pPr marL="514350" indent="-102870">
              <a:defRPr sz="788"/>
            </a:lvl5pPr>
            <a:lvl6pPr marL="617220" indent="-102870">
              <a:defRPr sz="788"/>
            </a:lvl6pPr>
            <a:lvl7pPr marL="720090" indent="-102870">
              <a:defRPr sz="788"/>
            </a:lvl7pPr>
            <a:lvl8pPr marL="822960" indent="-102870">
              <a:defRPr sz="788"/>
            </a:lvl8pPr>
            <a:lvl9pPr marL="925830" indent="-102870">
              <a:defRPr sz="78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D3A36F88-D46F-A045-9FAE-DB4F02EE338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36483" y="1737358"/>
            <a:ext cx="2664619" cy="2377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56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3E7CE142-0CA8-FE44-AEBE-6EA0C0C5956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136483" y="4343403"/>
            <a:ext cx="2664619" cy="1874519"/>
          </a:xfrm>
        </p:spPr>
        <p:txBody>
          <a:bodyPr/>
          <a:lstStyle>
            <a:lvl1pPr marL="102870" indent="-102870">
              <a:defRPr sz="788"/>
            </a:lvl1pPr>
            <a:lvl2pPr marL="205740" indent="-102870">
              <a:defRPr sz="788"/>
            </a:lvl2pPr>
            <a:lvl3pPr marL="308610" indent="-102870">
              <a:defRPr sz="788"/>
            </a:lvl3pPr>
            <a:lvl4pPr marL="411480" indent="-102870">
              <a:defRPr sz="788"/>
            </a:lvl4pPr>
            <a:lvl5pPr marL="514350" indent="-102870">
              <a:defRPr sz="788"/>
            </a:lvl5pPr>
            <a:lvl6pPr marL="617220" indent="-102870">
              <a:defRPr sz="788"/>
            </a:lvl6pPr>
            <a:lvl7pPr marL="720090" indent="-102870">
              <a:defRPr sz="788"/>
            </a:lvl7pPr>
            <a:lvl8pPr marL="822960" indent="-102870">
              <a:defRPr sz="788"/>
            </a:lvl8pPr>
            <a:lvl9pPr marL="925830" indent="-102870">
              <a:defRPr sz="78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219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6" orient="horz" pos="2592">
          <p15:clr>
            <a:srgbClr val="A4A3A4"/>
          </p15:clr>
        </p15:guide>
        <p15:guide id="7" orient="horz" pos="2734">
          <p15:clr>
            <a:srgbClr val="A4A3A4"/>
          </p15:clr>
        </p15:guide>
        <p15:guide id="8" orient="horz" pos="1092">
          <p15:clr>
            <a:srgbClr val="A4A3A4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41B625E-44A6-7E49-99D5-8C73EBF7E7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1" y="457200"/>
            <a:ext cx="7012781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A87E07-D230-4A2B-90EB-BAFE34A4AD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42901" y="1737360"/>
            <a:ext cx="1221581" cy="4480560"/>
          </a:xfrm>
        </p:spPr>
        <p:txBody>
          <a:bodyPr>
            <a:noAutofit/>
          </a:bodyPr>
          <a:lstStyle>
            <a:lvl1pPr marL="77153" indent="-77153">
              <a:spcBef>
                <a:spcPts val="506"/>
              </a:spcBef>
              <a:defRPr sz="675"/>
            </a:lvl1pPr>
            <a:lvl2pPr marL="154305" indent="-77153">
              <a:spcBef>
                <a:spcPts val="169"/>
              </a:spcBef>
              <a:defRPr sz="675"/>
            </a:lvl2pPr>
            <a:lvl3pPr marL="231458" indent="-77153">
              <a:spcBef>
                <a:spcPts val="169"/>
              </a:spcBef>
              <a:defRPr sz="675"/>
            </a:lvl3pPr>
            <a:lvl4pPr marL="308610" indent="-77153">
              <a:spcBef>
                <a:spcPts val="169"/>
              </a:spcBef>
              <a:defRPr sz="675"/>
            </a:lvl4pPr>
            <a:lvl5pPr marL="385763" indent="-77153">
              <a:spcBef>
                <a:spcPts val="169"/>
              </a:spcBef>
              <a:defRPr sz="675"/>
            </a:lvl5pPr>
            <a:lvl6pPr marL="462915" indent="-77153">
              <a:spcBef>
                <a:spcPts val="169"/>
              </a:spcBef>
              <a:defRPr sz="675"/>
            </a:lvl6pPr>
            <a:lvl7pPr marL="540068" indent="-77153">
              <a:spcBef>
                <a:spcPts val="169"/>
              </a:spcBef>
              <a:defRPr sz="675"/>
            </a:lvl7pPr>
            <a:lvl8pPr marL="617220" indent="-77153">
              <a:spcBef>
                <a:spcPts val="169"/>
              </a:spcBef>
              <a:defRPr sz="675"/>
            </a:lvl8pPr>
            <a:lvl9pPr marL="694373" indent="-77153">
              <a:spcBef>
                <a:spcPts val="169"/>
              </a:spcBef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F30D3B-DD55-43C0-9A96-3AC11E0112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790702" y="1737360"/>
            <a:ext cx="1219961" cy="4480560"/>
          </a:xfrm>
        </p:spPr>
        <p:txBody>
          <a:bodyPr>
            <a:noAutofit/>
          </a:bodyPr>
          <a:lstStyle>
            <a:lvl1pPr marL="77153" indent="-77153">
              <a:spcBef>
                <a:spcPts val="506"/>
              </a:spcBef>
              <a:defRPr sz="675"/>
            </a:lvl1pPr>
            <a:lvl2pPr marL="154305" indent="-77153">
              <a:spcBef>
                <a:spcPts val="169"/>
              </a:spcBef>
              <a:defRPr sz="675"/>
            </a:lvl2pPr>
            <a:lvl3pPr marL="231458" indent="-77153">
              <a:spcBef>
                <a:spcPts val="169"/>
              </a:spcBef>
              <a:defRPr sz="675"/>
            </a:lvl3pPr>
            <a:lvl4pPr marL="308610" indent="-77153">
              <a:spcBef>
                <a:spcPts val="169"/>
              </a:spcBef>
              <a:defRPr sz="675"/>
            </a:lvl4pPr>
            <a:lvl5pPr marL="385763" indent="-77153">
              <a:spcBef>
                <a:spcPts val="169"/>
              </a:spcBef>
              <a:defRPr sz="675"/>
            </a:lvl5pPr>
            <a:lvl6pPr marL="462915" indent="-77153">
              <a:spcBef>
                <a:spcPts val="169"/>
              </a:spcBef>
              <a:defRPr sz="675"/>
            </a:lvl6pPr>
            <a:lvl7pPr marL="540068" indent="-77153">
              <a:spcBef>
                <a:spcPts val="169"/>
              </a:spcBef>
              <a:defRPr sz="675"/>
            </a:lvl7pPr>
            <a:lvl8pPr marL="617220" indent="-77153">
              <a:spcBef>
                <a:spcPts val="169"/>
              </a:spcBef>
              <a:defRPr sz="675"/>
            </a:lvl8pPr>
            <a:lvl9pPr marL="694373" indent="-77153">
              <a:spcBef>
                <a:spcPts val="169"/>
              </a:spcBef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E7CE142-0CA8-FE44-AEBE-6EA0C0C5956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38502" y="1737360"/>
            <a:ext cx="1219199" cy="4480560"/>
          </a:xfrm>
        </p:spPr>
        <p:txBody>
          <a:bodyPr>
            <a:noAutofit/>
          </a:bodyPr>
          <a:lstStyle>
            <a:lvl1pPr marL="77153" indent="-77153">
              <a:spcBef>
                <a:spcPts val="506"/>
              </a:spcBef>
              <a:defRPr sz="675"/>
            </a:lvl1pPr>
            <a:lvl2pPr marL="154305" indent="-77153">
              <a:spcBef>
                <a:spcPts val="169"/>
              </a:spcBef>
              <a:defRPr sz="675"/>
            </a:lvl2pPr>
            <a:lvl3pPr marL="231458" indent="-77153">
              <a:spcBef>
                <a:spcPts val="169"/>
              </a:spcBef>
              <a:defRPr sz="675"/>
            </a:lvl3pPr>
            <a:lvl4pPr marL="308610" indent="-77153">
              <a:spcBef>
                <a:spcPts val="169"/>
              </a:spcBef>
              <a:defRPr sz="675"/>
            </a:lvl4pPr>
            <a:lvl5pPr marL="385763" indent="-77153">
              <a:spcBef>
                <a:spcPts val="169"/>
              </a:spcBef>
              <a:defRPr sz="675"/>
            </a:lvl5pPr>
            <a:lvl6pPr marL="462915" indent="-77153">
              <a:spcBef>
                <a:spcPts val="169"/>
              </a:spcBef>
              <a:defRPr sz="675"/>
            </a:lvl6pPr>
            <a:lvl7pPr marL="540068" indent="-77153">
              <a:spcBef>
                <a:spcPts val="169"/>
              </a:spcBef>
              <a:defRPr sz="675"/>
            </a:lvl7pPr>
            <a:lvl8pPr marL="617220" indent="-77153">
              <a:spcBef>
                <a:spcPts val="169"/>
              </a:spcBef>
              <a:defRPr sz="675"/>
            </a:lvl8pPr>
            <a:lvl9pPr marL="694373" indent="-77153">
              <a:spcBef>
                <a:spcPts val="169"/>
              </a:spcBef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5BC9E542-5C7A-5F45-986F-1849A865FCE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86301" y="1737360"/>
            <a:ext cx="1219199" cy="4480560"/>
          </a:xfrm>
        </p:spPr>
        <p:txBody>
          <a:bodyPr>
            <a:noAutofit/>
          </a:bodyPr>
          <a:lstStyle>
            <a:lvl1pPr marL="77153" indent="-77153">
              <a:spcBef>
                <a:spcPts val="506"/>
              </a:spcBef>
              <a:defRPr sz="675"/>
            </a:lvl1pPr>
            <a:lvl2pPr marL="154305" indent="-77153">
              <a:spcBef>
                <a:spcPts val="169"/>
              </a:spcBef>
              <a:defRPr sz="675"/>
            </a:lvl2pPr>
            <a:lvl3pPr marL="231458" indent="-77153">
              <a:spcBef>
                <a:spcPts val="169"/>
              </a:spcBef>
              <a:defRPr sz="675"/>
            </a:lvl3pPr>
            <a:lvl4pPr marL="308610" indent="-77153">
              <a:spcBef>
                <a:spcPts val="169"/>
              </a:spcBef>
              <a:defRPr sz="675"/>
            </a:lvl4pPr>
            <a:lvl5pPr marL="385763" indent="-77153">
              <a:spcBef>
                <a:spcPts val="169"/>
              </a:spcBef>
              <a:defRPr sz="675"/>
            </a:lvl5pPr>
            <a:lvl6pPr marL="462915" indent="-77153">
              <a:spcBef>
                <a:spcPts val="169"/>
              </a:spcBef>
              <a:defRPr sz="675"/>
            </a:lvl6pPr>
            <a:lvl7pPr marL="540068" indent="-77153">
              <a:spcBef>
                <a:spcPts val="169"/>
              </a:spcBef>
              <a:defRPr sz="675"/>
            </a:lvl7pPr>
            <a:lvl8pPr marL="617220" indent="-77153">
              <a:spcBef>
                <a:spcPts val="169"/>
              </a:spcBef>
              <a:defRPr sz="675"/>
            </a:lvl8pPr>
            <a:lvl9pPr marL="694373" indent="-77153">
              <a:spcBef>
                <a:spcPts val="169"/>
              </a:spcBef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6544A43D-2F1E-3848-B23C-4FBC4563348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36484" y="1737360"/>
            <a:ext cx="1219199" cy="4480560"/>
          </a:xfrm>
        </p:spPr>
        <p:txBody>
          <a:bodyPr>
            <a:noAutofit/>
          </a:bodyPr>
          <a:lstStyle>
            <a:lvl1pPr marL="77153" indent="-77153">
              <a:spcBef>
                <a:spcPts val="506"/>
              </a:spcBef>
              <a:defRPr sz="675"/>
            </a:lvl1pPr>
            <a:lvl2pPr marL="154305" indent="-77153">
              <a:spcBef>
                <a:spcPts val="169"/>
              </a:spcBef>
              <a:defRPr sz="675"/>
            </a:lvl2pPr>
            <a:lvl3pPr marL="231458" indent="-77153">
              <a:spcBef>
                <a:spcPts val="169"/>
              </a:spcBef>
              <a:defRPr sz="675"/>
            </a:lvl3pPr>
            <a:lvl4pPr marL="308610" indent="-77153">
              <a:spcBef>
                <a:spcPts val="169"/>
              </a:spcBef>
              <a:defRPr sz="675"/>
            </a:lvl4pPr>
            <a:lvl5pPr marL="385763" indent="-77153">
              <a:spcBef>
                <a:spcPts val="169"/>
              </a:spcBef>
              <a:defRPr sz="675"/>
            </a:lvl5pPr>
            <a:lvl6pPr marL="462915" indent="-77153">
              <a:spcBef>
                <a:spcPts val="169"/>
              </a:spcBef>
              <a:defRPr sz="675"/>
            </a:lvl6pPr>
            <a:lvl7pPr marL="540068" indent="-77153">
              <a:spcBef>
                <a:spcPts val="169"/>
              </a:spcBef>
              <a:defRPr sz="675"/>
            </a:lvl7pPr>
            <a:lvl8pPr marL="617220" indent="-77153">
              <a:spcBef>
                <a:spcPts val="169"/>
              </a:spcBef>
              <a:defRPr sz="675"/>
            </a:lvl8pPr>
            <a:lvl9pPr marL="694373" indent="-77153">
              <a:spcBef>
                <a:spcPts val="169"/>
              </a:spcBef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7">
            <a:extLst>
              <a:ext uri="{FF2B5EF4-FFF2-40B4-BE49-F238E27FC236}">
                <a16:creationId xmlns:a16="http://schemas.microsoft.com/office/drawing/2014/main" id="{E2895ADA-48AA-C84D-A65B-7441BB140A9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586666" y="1737360"/>
            <a:ext cx="1212148" cy="4480560"/>
          </a:xfrm>
        </p:spPr>
        <p:txBody>
          <a:bodyPr>
            <a:noAutofit/>
          </a:bodyPr>
          <a:lstStyle>
            <a:lvl1pPr marL="77153" indent="-77153">
              <a:spcBef>
                <a:spcPts val="506"/>
              </a:spcBef>
              <a:defRPr sz="675"/>
            </a:lvl1pPr>
            <a:lvl2pPr marL="154305" indent="-77153">
              <a:spcBef>
                <a:spcPts val="169"/>
              </a:spcBef>
              <a:defRPr sz="675"/>
            </a:lvl2pPr>
            <a:lvl3pPr marL="231458" indent="-77153">
              <a:spcBef>
                <a:spcPts val="169"/>
              </a:spcBef>
              <a:defRPr sz="675"/>
            </a:lvl3pPr>
            <a:lvl4pPr marL="308610" indent="-77153">
              <a:spcBef>
                <a:spcPts val="169"/>
              </a:spcBef>
              <a:defRPr sz="675"/>
            </a:lvl4pPr>
            <a:lvl5pPr marL="385763" indent="-77153">
              <a:spcBef>
                <a:spcPts val="169"/>
              </a:spcBef>
              <a:defRPr sz="675"/>
            </a:lvl5pPr>
            <a:lvl6pPr marL="462915" indent="-77153">
              <a:spcBef>
                <a:spcPts val="169"/>
              </a:spcBef>
              <a:defRPr sz="675"/>
            </a:lvl6pPr>
            <a:lvl7pPr marL="540068" indent="-77153">
              <a:spcBef>
                <a:spcPts val="169"/>
              </a:spcBef>
              <a:defRPr sz="675"/>
            </a:lvl7pPr>
            <a:lvl8pPr marL="617220" indent="-77153">
              <a:spcBef>
                <a:spcPts val="169"/>
              </a:spcBef>
              <a:defRPr sz="675"/>
            </a:lvl8pPr>
            <a:lvl9pPr marL="694373" indent="-77153">
              <a:spcBef>
                <a:spcPts val="169"/>
              </a:spcBef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2596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x Photo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41B625E-44A6-7E49-99D5-8C73EBF7E7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1" y="457200"/>
            <a:ext cx="7012781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5D8E3C3A-BC08-3E46-9CCD-F118AD3A5FC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2900" y="1737358"/>
            <a:ext cx="1220724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56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F2A87E07-D230-4A2B-90EB-BAFE34A4AD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42901" y="3154680"/>
            <a:ext cx="1221581" cy="3063240"/>
          </a:xfrm>
        </p:spPr>
        <p:txBody>
          <a:bodyPr>
            <a:noAutofit/>
          </a:bodyPr>
          <a:lstStyle>
            <a:lvl1pPr marL="77153" indent="-77153">
              <a:spcBef>
                <a:spcPts val="506"/>
              </a:spcBef>
              <a:defRPr sz="675"/>
            </a:lvl1pPr>
            <a:lvl2pPr marL="154305" indent="-77153">
              <a:spcBef>
                <a:spcPts val="169"/>
              </a:spcBef>
              <a:defRPr sz="675"/>
            </a:lvl2pPr>
            <a:lvl3pPr marL="231458" indent="-77153">
              <a:spcBef>
                <a:spcPts val="169"/>
              </a:spcBef>
              <a:defRPr sz="675"/>
            </a:lvl3pPr>
            <a:lvl4pPr marL="308610" indent="-77153">
              <a:spcBef>
                <a:spcPts val="169"/>
              </a:spcBef>
              <a:defRPr sz="675"/>
            </a:lvl4pPr>
            <a:lvl5pPr marL="385763" indent="-77153">
              <a:spcBef>
                <a:spcPts val="169"/>
              </a:spcBef>
              <a:defRPr sz="675"/>
            </a:lvl5pPr>
            <a:lvl6pPr marL="462915" indent="-77153">
              <a:spcBef>
                <a:spcPts val="169"/>
              </a:spcBef>
              <a:defRPr sz="675"/>
            </a:lvl6pPr>
            <a:lvl7pPr marL="540068" indent="-77153">
              <a:spcBef>
                <a:spcPts val="169"/>
              </a:spcBef>
              <a:defRPr sz="675"/>
            </a:lvl7pPr>
            <a:lvl8pPr marL="617220" indent="-77153">
              <a:spcBef>
                <a:spcPts val="169"/>
              </a:spcBef>
              <a:defRPr sz="675"/>
            </a:lvl8pPr>
            <a:lvl9pPr marL="694373" indent="-77153">
              <a:spcBef>
                <a:spcPts val="169"/>
              </a:spcBef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EFA28167-CB7D-C341-84A9-A9F9D24B95A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790700" y="1737358"/>
            <a:ext cx="1220724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56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CFF30D3B-DD55-43C0-9A96-3AC11E0112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790702" y="3154680"/>
            <a:ext cx="1219961" cy="3063240"/>
          </a:xfrm>
        </p:spPr>
        <p:txBody>
          <a:bodyPr>
            <a:noAutofit/>
          </a:bodyPr>
          <a:lstStyle>
            <a:lvl1pPr marL="77153" indent="-77153">
              <a:spcBef>
                <a:spcPts val="506"/>
              </a:spcBef>
              <a:defRPr sz="675"/>
            </a:lvl1pPr>
            <a:lvl2pPr marL="154305" indent="-77153">
              <a:spcBef>
                <a:spcPts val="169"/>
              </a:spcBef>
              <a:defRPr sz="675"/>
            </a:lvl2pPr>
            <a:lvl3pPr marL="231458" indent="-77153">
              <a:spcBef>
                <a:spcPts val="169"/>
              </a:spcBef>
              <a:defRPr sz="675"/>
            </a:lvl3pPr>
            <a:lvl4pPr marL="308610" indent="-77153">
              <a:spcBef>
                <a:spcPts val="169"/>
              </a:spcBef>
              <a:defRPr sz="675"/>
            </a:lvl4pPr>
            <a:lvl5pPr marL="385763" indent="-77153">
              <a:spcBef>
                <a:spcPts val="169"/>
              </a:spcBef>
              <a:defRPr sz="675"/>
            </a:lvl5pPr>
            <a:lvl6pPr marL="462915" indent="-77153">
              <a:spcBef>
                <a:spcPts val="169"/>
              </a:spcBef>
              <a:defRPr sz="675"/>
            </a:lvl6pPr>
            <a:lvl7pPr marL="540068" indent="-77153">
              <a:spcBef>
                <a:spcPts val="169"/>
              </a:spcBef>
              <a:defRPr sz="675"/>
            </a:lvl7pPr>
            <a:lvl8pPr marL="617220" indent="-77153">
              <a:spcBef>
                <a:spcPts val="169"/>
              </a:spcBef>
              <a:defRPr sz="675"/>
            </a:lvl8pPr>
            <a:lvl9pPr marL="694373" indent="-77153">
              <a:spcBef>
                <a:spcPts val="169"/>
              </a:spcBef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BB98807F-BA29-0440-AC0B-37992865D5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38501" y="1737358"/>
            <a:ext cx="1220724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56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3E7CE142-0CA8-FE44-AEBE-6EA0C0C5956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38502" y="3154680"/>
            <a:ext cx="1219199" cy="3063240"/>
          </a:xfrm>
        </p:spPr>
        <p:txBody>
          <a:bodyPr>
            <a:noAutofit/>
          </a:bodyPr>
          <a:lstStyle>
            <a:lvl1pPr marL="77153" indent="-77153">
              <a:spcBef>
                <a:spcPts val="506"/>
              </a:spcBef>
              <a:defRPr sz="675"/>
            </a:lvl1pPr>
            <a:lvl2pPr marL="154305" indent="-77153">
              <a:spcBef>
                <a:spcPts val="169"/>
              </a:spcBef>
              <a:defRPr sz="675"/>
            </a:lvl2pPr>
            <a:lvl3pPr marL="231458" indent="-77153">
              <a:spcBef>
                <a:spcPts val="169"/>
              </a:spcBef>
              <a:defRPr sz="675"/>
            </a:lvl3pPr>
            <a:lvl4pPr marL="308610" indent="-77153">
              <a:spcBef>
                <a:spcPts val="169"/>
              </a:spcBef>
              <a:defRPr sz="675"/>
            </a:lvl4pPr>
            <a:lvl5pPr marL="385763" indent="-77153">
              <a:spcBef>
                <a:spcPts val="169"/>
              </a:spcBef>
              <a:defRPr sz="675"/>
            </a:lvl5pPr>
            <a:lvl6pPr marL="462915" indent="-77153">
              <a:spcBef>
                <a:spcPts val="169"/>
              </a:spcBef>
              <a:defRPr sz="675"/>
            </a:lvl6pPr>
            <a:lvl7pPr marL="540068" indent="-77153">
              <a:spcBef>
                <a:spcPts val="169"/>
              </a:spcBef>
              <a:defRPr sz="675"/>
            </a:lvl7pPr>
            <a:lvl8pPr marL="617220" indent="-77153">
              <a:spcBef>
                <a:spcPts val="169"/>
              </a:spcBef>
              <a:defRPr sz="675"/>
            </a:lvl8pPr>
            <a:lvl9pPr marL="694373" indent="-77153">
              <a:spcBef>
                <a:spcPts val="169"/>
              </a:spcBef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AFFF6CCC-8DBB-A741-AA67-EC14C297B81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86300" y="1737358"/>
            <a:ext cx="1220724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56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5BC9E542-5C7A-5F45-986F-1849A865FCE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86301" y="3154680"/>
            <a:ext cx="1219199" cy="3063240"/>
          </a:xfrm>
        </p:spPr>
        <p:txBody>
          <a:bodyPr>
            <a:noAutofit/>
          </a:bodyPr>
          <a:lstStyle>
            <a:lvl1pPr marL="77153" indent="-77153">
              <a:spcBef>
                <a:spcPts val="506"/>
              </a:spcBef>
              <a:defRPr sz="675"/>
            </a:lvl1pPr>
            <a:lvl2pPr marL="154305" indent="-77153">
              <a:spcBef>
                <a:spcPts val="169"/>
              </a:spcBef>
              <a:defRPr sz="675"/>
            </a:lvl2pPr>
            <a:lvl3pPr marL="231458" indent="-77153">
              <a:spcBef>
                <a:spcPts val="169"/>
              </a:spcBef>
              <a:defRPr sz="675"/>
            </a:lvl3pPr>
            <a:lvl4pPr marL="308610" indent="-77153">
              <a:spcBef>
                <a:spcPts val="169"/>
              </a:spcBef>
              <a:defRPr sz="675"/>
            </a:lvl4pPr>
            <a:lvl5pPr marL="385763" indent="-77153">
              <a:spcBef>
                <a:spcPts val="169"/>
              </a:spcBef>
              <a:defRPr sz="675"/>
            </a:lvl5pPr>
            <a:lvl6pPr marL="462915" indent="-77153">
              <a:spcBef>
                <a:spcPts val="169"/>
              </a:spcBef>
              <a:defRPr sz="675"/>
            </a:lvl6pPr>
            <a:lvl7pPr marL="540068" indent="-77153">
              <a:spcBef>
                <a:spcPts val="169"/>
              </a:spcBef>
              <a:defRPr sz="675"/>
            </a:lvl7pPr>
            <a:lvl8pPr marL="617220" indent="-77153">
              <a:spcBef>
                <a:spcPts val="169"/>
              </a:spcBef>
              <a:defRPr sz="675"/>
            </a:lvl8pPr>
            <a:lvl9pPr marL="694373" indent="-77153">
              <a:spcBef>
                <a:spcPts val="169"/>
              </a:spcBef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5B678099-6AAF-EE4E-81F3-60755C4436F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36483" y="1737358"/>
            <a:ext cx="1220724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56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Content Placeholder 11">
            <a:extLst>
              <a:ext uri="{FF2B5EF4-FFF2-40B4-BE49-F238E27FC236}">
                <a16:creationId xmlns:a16="http://schemas.microsoft.com/office/drawing/2014/main" id="{6544A43D-2F1E-3848-B23C-4FBC4563348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36484" y="3154680"/>
            <a:ext cx="1219199" cy="3063240"/>
          </a:xfrm>
        </p:spPr>
        <p:txBody>
          <a:bodyPr>
            <a:noAutofit/>
          </a:bodyPr>
          <a:lstStyle>
            <a:lvl1pPr marL="77153" indent="-77153">
              <a:spcBef>
                <a:spcPts val="506"/>
              </a:spcBef>
              <a:defRPr sz="675"/>
            </a:lvl1pPr>
            <a:lvl2pPr marL="154305" indent="-77153">
              <a:spcBef>
                <a:spcPts val="169"/>
              </a:spcBef>
              <a:defRPr sz="675"/>
            </a:lvl2pPr>
            <a:lvl3pPr marL="231458" indent="-77153">
              <a:spcBef>
                <a:spcPts val="169"/>
              </a:spcBef>
              <a:defRPr sz="675"/>
            </a:lvl3pPr>
            <a:lvl4pPr marL="308610" indent="-77153">
              <a:spcBef>
                <a:spcPts val="169"/>
              </a:spcBef>
              <a:defRPr sz="675"/>
            </a:lvl4pPr>
            <a:lvl5pPr marL="385763" indent="-77153">
              <a:spcBef>
                <a:spcPts val="169"/>
              </a:spcBef>
              <a:defRPr sz="675"/>
            </a:lvl5pPr>
            <a:lvl6pPr marL="462915" indent="-77153">
              <a:spcBef>
                <a:spcPts val="169"/>
              </a:spcBef>
              <a:defRPr sz="675"/>
            </a:lvl6pPr>
            <a:lvl7pPr marL="540068" indent="-77153">
              <a:spcBef>
                <a:spcPts val="169"/>
              </a:spcBef>
              <a:defRPr sz="675"/>
            </a:lvl7pPr>
            <a:lvl8pPr marL="617220" indent="-77153">
              <a:spcBef>
                <a:spcPts val="169"/>
              </a:spcBef>
              <a:defRPr sz="675"/>
            </a:lvl8pPr>
            <a:lvl9pPr marL="694373" indent="-77153">
              <a:spcBef>
                <a:spcPts val="169"/>
              </a:spcBef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EF3DFB9E-32BB-C040-8B1A-72E687796F0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586666" y="1737358"/>
            <a:ext cx="1212148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56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Content Placeholder 13">
            <a:extLst>
              <a:ext uri="{FF2B5EF4-FFF2-40B4-BE49-F238E27FC236}">
                <a16:creationId xmlns:a16="http://schemas.microsoft.com/office/drawing/2014/main" id="{E2895ADA-48AA-C84D-A65B-7441BB140A9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586666" y="3154680"/>
            <a:ext cx="1212148" cy="3063240"/>
          </a:xfrm>
        </p:spPr>
        <p:txBody>
          <a:bodyPr>
            <a:noAutofit/>
          </a:bodyPr>
          <a:lstStyle>
            <a:lvl1pPr marL="77153" indent="-77153">
              <a:spcBef>
                <a:spcPts val="506"/>
              </a:spcBef>
              <a:defRPr sz="675"/>
            </a:lvl1pPr>
            <a:lvl2pPr marL="154305" indent="-77153">
              <a:spcBef>
                <a:spcPts val="169"/>
              </a:spcBef>
              <a:defRPr sz="675"/>
            </a:lvl2pPr>
            <a:lvl3pPr marL="231458" indent="-77153">
              <a:spcBef>
                <a:spcPts val="169"/>
              </a:spcBef>
              <a:defRPr sz="675"/>
            </a:lvl3pPr>
            <a:lvl4pPr marL="308610" indent="-77153">
              <a:spcBef>
                <a:spcPts val="169"/>
              </a:spcBef>
              <a:defRPr sz="675"/>
            </a:lvl4pPr>
            <a:lvl5pPr marL="385763" indent="-77153">
              <a:spcBef>
                <a:spcPts val="169"/>
              </a:spcBef>
              <a:defRPr sz="675"/>
            </a:lvl5pPr>
            <a:lvl6pPr marL="462915" indent="-77153">
              <a:spcBef>
                <a:spcPts val="169"/>
              </a:spcBef>
              <a:defRPr sz="675"/>
            </a:lvl6pPr>
            <a:lvl7pPr marL="540068" indent="-77153">
              <a:spcBef>
                <a:spcPts val="169"/>
              </a:spcBef>
              <a:defRPr sz="675"/>
            </a:lvl7pPr>
            <a:lvl8pPr marL="617220" indent="-77153">
              <a:spcBef>
                <a:spcPts val="169"/>
              </a:spcBef>
              <a:defRPr sz="675"/>
            </a:lvl8pPr>
            <a:lvl9pPr marL="694373" indent="-77153">
              <a:spcBef>
                <a:spcPts val="169"/>
              </a:spcBef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58044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872">
          <p15:clr>
            <a:srgbClr val="A4A3A4"/>
          </p15:clr>
        </p15:guide>
        <p15:guide id="2" orient="horz" pos="1986">
          <p15:clr>
            <a:srgbClr val="A4A3A4"/>
          </p15:clr>
        </p15:guide>
        <p15:guide id="3" orient="horz" pos="1092">
          <p15:clr>
            <a:srgbClr val="A4A3A4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bar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DB856AC-3CE9-C745-8E1F-72AC71377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1" y="457200"/>
            <a:ext cx="7012781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465466B-3F33-DB47-84A2-6F568D25265F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42900" y="1737360"/>
            <a:ext cx="2667000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EBA115F8-994C-8A4C-ACE0-25AE5F0718D6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239814" y="1737360"/>
            <a:ext cx="5561286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1566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ideba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9ED47DF-F22C-3D49-B066-4B51EE7042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1" y="457200"/>
            <a:ext cx="7012781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4C90D45-1AE3-474C-8013-D60AA387A812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42899" y="1737360"/>
            <a:ext cx="5564982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91FEA3D8-D639-BC4F-BDEF-E6116326D0B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136483" y="1737360"/>
            <a:ext cx="2664620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6200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9D742D-B3DC-AA4D-912D-5EA93D9647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Optional slide title]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EDC1505-1CCF-3145-B369-C90344F39B0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42901" y="1737360"/>
            <a:ext cx="7012781" cy="448056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700" b="0">
                <a:solidFill>
                  <a:schemeClr val="tx1"/>
                </a:solidFill>
              </a:defRPr>
            </a:lvl1pPr>
            <a:lvl2pPr marL="128588" indent="-128588">
              <a:lnSpc>
                <a:spcPct val="110000"/>
              </a:lnSpc>
              <a:spcBef>
                <a:spcPts val="675"/>
              </a:spcBef>
              <a:buFont typeface="Arial" panose="020B0604020202020204" pitchFamily="34" charset="0"/>
              <a:buChar char="–"/>
              <a:defRPr sz="900" b="0">
                <a:solidFill>
                  <a:schemeClr val="tx1"/>
                </a:solidFill>
              </a:defRPr>
            </a:lvl2pPr>
            <a:lvl3pPr marL="257175" indent="-102870">
              <a:spcBef>
                <a:spcPts val="169"/>
              </a:spcBef>
              <a:buClrTx/>
              <a:buFont typeface="Arial" panose="020B0604020202020204" pitchFamily="34" charset="0"/>
              <a:buChar char="–"/>
              <a:defRPr/>
            </a:lvl3pPr>
            <a:lvl4pPr marL="385763" indent="-128588">
              <a:spcBef>
                <a:spcPts val="169"/>
              </a:spcBef>
              <a:buClrTx/>
              <a:buFont typeface="Arial" panose="020B0604020202020204" pitchFamily="34" charset="0"/>
              <a:buChar char="–"/>
              <a:defRPr/>
            </a:lvl4pPr>
            <a:lvl5pPr marL="514350" indent="-128588">
              <a:spcBef>
                <a:spcPts val="169"/>
              </a:spcBef>
              <a:buClrTx/>
              <a:buFont typeface="Arial" panose="020B0604020202020204" pitchFamily="34" charset="0"/>
              <a:buChar char="–"/>
              <a:defRPr/>
            </a:lvl5pPr>
            <a:lvl6pPr marL="642938" indent="-128588">
              <a:spcBef>
                <a:spcPts val="169"/>
              </a:spcBef>
              <a:buClrTx/>
              <a:buFont typeface="Arial" panose="020B0604020202020204" pitchFamily="34" charset="0"/>
              <a:buChar char="–"/>
              <a:defRPr/>
            </a:lvl6pPr>
            <a:lvl7pPr marL="771525" indent="-128588">
              <a:spcBef>
                <a:spcPts val="169"/>
              </a:spcBef>
              <a:buClrTx/>
              <a:buFont typeface="Arial" panose="020B0604020202020204" pitchFamily="34" charset="0"/>
              <a:buChar char="–"/>
              <a:defRPr/>
            </a:lvl7pPr>
            <a:lvl8pPr marL="900113" indent="-128588">
              <a:spcBef>
                <a:spcPts val="169"/>
              </a:spcBef>
              <a:buClrTx/>
              <a:buFont typeface="Arial" panose="020B0604020202020204" pitchFamily="34" charset="0"/>
              <a:buChar char="–"/>
              <a:defRPr/>
            </a:lvl8pPr>
            <a:lvl9pPr marL="1028700" indent="-128588">
              <a:spcBef>
                <a:spcPts val="169"/>
              </a:spcBef>
              <a:buClrTx/>
              <a:buFont typeface="Arial" panose="020B0604020202020204" pitchFamily="34" charset="0"/>
              <a:buChar char="–"/>
              <a:defRPr/>
            </a:lvl9pPr>
          </a:lstStyle>
          <a:p>
            <a:pPr lvl="0"/>
            <a:r>
              <a:rPr lang="en-US"/>
              <a:t>[Big statement]</a:t>
            </a:r>
          </a:p>
          <a:p>
            <a:pPr lvl="1"/>
            <a:r>
              <a:rPr lang="en-US"/>
              <a:t>[Attribution]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958111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503AFCD-99D5-BA44-9B85-794E757DA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0" y="457200"/>
            <a:ext cx="4114800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DA05FDA-F191-8E4B-9D3F-39F03BD735B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0" y="1737360"/>
            <a:ext cx="4114800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EB70FBD3-3AE3-8D4D-B019-8121AF06E9E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6300" y="0"/>
            <a:ext cx="4457700" cy="685800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563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32745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orient="horz" pos="1092">
          <p15:clr>
            <a:srgbClr val="A4A3A4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hoto - Blue">
    <p:bg>
      <p:bgPr>
        <a:solidFill>
          <a:srgbClr val="170D6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503AFCD-99D5-BA44-9B85-794E757DA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0" y="457200"/>
            <a:ext cx="4114800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DA05FDA-F191-8E4B-9D3F-39F03BD735B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0" y="1737360"/>
            <a:ext cx="4114800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EB70FBD3-3AE3-8D4D-B019-8121AF06E9E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6300" y="0"/>
            <a:ext cx="4457700" cy="6858000"/>
          </a:xfrm>
          <a:solidFill>
            <a:srgbClr val="8B86B3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563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881794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orient="horz" pos="1092">
          <p15:clr>
            <a:srgbClr val="A4A3A4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>
            <a:extLst>
              <a:ext uri="{FF2B5EF4-FFF2-40B4-BE49-F238E27FC236}">
                <a16:creationId xmlns:a16="http://schemas.microsoft.com/office/drawing/2014/main" id="{01336BB9-131E-EB4B-8700-C48DD8ACC01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5"/>
            <a:ext cx="9144000" cy="6857997"/>
          </a:xfrm>
          <a:solidFill>
            <a:srgbClr val="DBDBE9"/>
          </a:solidFill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563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023FBAC-1788-B548-9C1F-C059390AD1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 marL="0" marR="0" indent="0" algn="l" defTabSz="385763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[Optional slide title]</a:t>
            </a:r>
          </a:p>
        </p:txBody>
      </p:sp>
    </p:spTree>
    <p:extLst>
      <p:ext uri="{BB962C8B-B14F-4D97-AF65-F5344CB8AC3E}">
        <p14:creationId xmlns:p14="http://schemas.microsoft.com/office/powerpoint/2010/main" val="3778303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Half Photo">
    <p:bg>
      <p:bgPr>
        <a:gradFill>
          <a:gsLst>
            <a:gs pos="100000">
              <a:srgbClr val="6E06C1"/>
            </a:gs>
            <a:gs pos="65000">
              <a:srgbClr val="170D67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ECO" descr="PECO: An Exelon Company">
            <a:extLst>
              <a:ext uri="{FF2B5EF4-FFF2-40B4-BE49-F238E27FC236}">
                <a16:creationId xmlns:a16="http://schemas.microsoft.com/office/drawing/2014/main" id="{B950E78D-63B6-0549-BC3F-812F4C4877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50129" y="203203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4114800" cy="246888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2531" b="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5669280"/>
            <a:ext cx="41148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[Business Unit | Presenter Name]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98FF03FD-D721-FE49-9958-D1D94DE75B8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6300" y="0"/>
            <a:ext cx="4457700" cy="6858000"/>
          </a:xfrm>
          <a:solidFill>
            <a:srgbClr val="8B86B3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422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9915415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67921A-18B5-4EC0-B921-CA27E4A3D6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</p:spTree>
    <p:extLst>
      <p:ext uri="{BB962C8B-B14F-4D97-AF65-F5344CB8AC3E}">
        <p14:creationId xmlns:p14="http://schemas.microsoft.com/office/powerpoint/2010/main" val="4005373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3167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">
    <p:bg>
      <p:bgPr>
        <a:gradFill>
          <a:gsLst>
            <a:gs pos="100000">
              <a:srgbClr val="6E06C1"/>
            </a:gs>
            <a:gs pos="65000">
              <a:srgbClr val="170D67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">
            <a:extLst>
              <a:ext uri="{FF2B5EF4-FFF2-40B4-BE49-F238E27FC236}">
                <a16:creationId xmlns:a16="http://schemas.microsoft.com/office/drawing/2014/main" id="{83D0FA9B-FB65-7E4A-94B6-DA461E5FAB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57" t="812" r="28978" b="33971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7" name="PECO" descr="PECO: An Exelon Company">
            <a:extLst>
              <a:ext uri="{FF2B5EF4-FFF2-40B4-BE49-F238E27FC236}">
                <a16:creationId xmlns:a16="http://schemas.microsoft.com/office/drawing/2014/main" id="{05420BBA-8C48-5E4F-8587-7A822AE5463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50127" y="203199"/>
            <a:ext cx="2125123" cy="1217041"/>
          </a:xfrm>
          <a:prstGeom prst="rect">
            <a:avLst/>
          </a:prstGeom>
        </p:spPr>
      </p:pic>
      <p:sp>
        <p:nvSpPr>
          <p:cNvPr id="12" name="TextBox">
            <a:extLst>
              <a:ext uri="{FF2B5EF4-FFF2-40B4-BE49-F238E27FC236}">
                <a16:creationId xmlns:a16="http://schemas.microsoft.com/office/drawing/2014/main" id="{EEC090CD-1D8D-EF4F-AFB1-71B75EA35959}"/>
              </a:ext>
            </a:extLst>
          </p:cNvPr>
          <p:cNvSpPr txBox="1"/>
          <p:nvPr/>
        </p:nvSpPr>
        <p:spPr>
          <a:xfrm>
            <a:off x="342900" y="2926080"/>
            <a:ext cx="8458200" cy="173736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00000"/>
              <a:buFontTx/>
              <a:buNone/>
            </a:pPr>
            <a:r>
              <a:rPr lang="en-US" sz="3375" b="0">
                <a:solidFill>
                  <a:schemeClr val="tx1"/>
                </a:solidFill>
                <a:latin typeface="+mj-lt"/>
              </a:rPr>
              <a:t>Thank you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79D4DF77-3EF5-EE42-B584-7D896A52588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1" y="5305425"/>
            <a:ext cx="4114800" cy="9144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9pPr>
          </a:lstStyle>
          <a:p>
            <a:pPr lvl="0"/>
            <a:r>
              <a:rPr lang="en-US"/>
              <a:t>[Optional contact information]</a:t>
            </a:r>
          </a:p>
        </p:txBody>
      </p:sp>
    </p:spTree>
    <p:extLst>
      <p:ext uri="{BB962C8B-B14F-4D97-AF65-F5344CB8AC3E}">
        <p14:creationId xmlns:p14="http://schemas.microsoft.com/office/powerpoint/2010/main" val="12323623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- Gray">
    <p:bg>
      <p:bgPr>
        <a:solidFill>
          <a:srgbClr val="DBD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>
            <a:extLst>
              <a:ext uri="{FF2B5EF4-FFF2-40B4-BE49-F238E27FC236}">
                <a16:creationId xmlns:a16="http://schemas.microsoft.com/office/drawing/2014/main" id="{BD2F1F44-13AA-9540-AEC8-CCC812D52A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6" name="PECO" descr="PECO: An Exelon Company">
            <a:extLst>
              <a:ext uri="{FF2B5EF4-FFF2-40B4-BE49-F238E27FC236}">
                <a16:creationId xmlns:a16="http://schemas.microsoft.com/office/drawing/2014/main" id="{2A2ABE23-0023-5E46-815D-CCB83CC896A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7" y="203199"/>
            <a:ext cx="2125123" cy="1217041"/>
          </a:xfrm>
          <a:prstGeom prst="rect">
            <a:avLst/>
          </a:prstGeom>
        </p:spPr>
      </p:pic>
      <p:sp>
        <p:nvSpPr>
          <p:cNvPr id="12" name="TextBox">
            <a:extLst>
              <a:ext uri="{FF2B5EF4-FFF2-40B4-BE49-F238E27FC236}">
                <a16:creationId xmlns:a16="http://schemas.microsoft.com/office/drawing/2014/main" id="{EEC090CD-1D8D-EF4F-AFB1-71B75EA35959}"/>
              </a:ext>
            </a:extLst>
          </p:cNvPr>
          <p:cNvSpPr txBox="1"/>
          <p:nvPr/>
        </p:nvSpPr>
        <p:spPr>
          <a:xfrm>
            <a:off x="342900" y="2926080"/>
            <a:ext cx="8458200" cy="173736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00000"/>
              <a:buFontTx/>
              <a:buNone/>
            </a:pPr>
            <a:r>
              <a:rPr lang="en-US" sz="3375" b="0">
                <a:solidFill>
                  <a:schemeClr val="tx1"/>
                </a:solidFill>
                <a:latin typeface="+mj-lt"/>
              </a:rPr>
              <a:t>Thank you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79D4DF77-3EF5-EE42-B584-7D896A52588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1" y="5305425"/>
            <a:ext cx="4114800" cy="9144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9pPr>
          </a:lstStyle>
          <a:p>
            <a:pPr lvl="0"/>
            <a:r>
              <a:rPr lang="en-US"/>
              <a:t>[Optional contact information]</a:t>
            </a:r>
          </a:p>
        </p:txBody>
      </p:sp>
    </p:spTree>
    <p:extLst>
      <p:ext uri="{BB962C8B-B14F-4D97-AF65-F5344CB8AC3E}">
        <p14:creationId xmlns:p14="http://schemas.microsoft.com/office/powerpoint/2010/main" val="7310967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Slide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>
            <a:extLst>
              <a:ext uri="{FF2B5EF4-FFF2-40B4-BE49-F238E27FC236}">
                <a16:creationId xmlns:a16="http://schemas.microsoft.com/office/drawing/2014/main" id="{CABF1D01-D617-5B4C-B94C-F3F2184C09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6" name="PECO" descr="PECO: An Exelon Company">
            <a:extLst>
              <a:ext uri="{FF2B5EF4-FFF2-40B4-BE49-F238E27FC236}">
                <a16:creationId xmlns:a16="http://schemas.microsoft.com/office/drawing/2014/main" id="{441E47AC-C454-DA45-9BA6-40C0EC0C59D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7" y="203199"/>
            <a:ext cx="2125123" cy="1217041"/>
          </a:xfrm>
          <a:prstGeom prst="rect">
            <a:avLst/>
          </a:prstGeom>
        </p:spPr>
      </p:pic>
      <p:sp>
        <p:nvSpPr>
          <p:cNvPr id="12" name="TextBox">
            <a:extLst>
              <a:ext uri="{FF2B5EF4-FFF2-40B4-BE49-F238E27FC236}">
                <a16:creationId xmlns:a16="http://schemas.microsoft.com/office/drawing/2014/main" id="{EEC090CD-1D8D-EF4F-AFB1-71B75EA35959}"/>
              </a:ext>
            </a:extLst>
          </p:cNvPr>
          <p:cNvSpPr txBox="1"/>
          <p:nvPr/>
        </p:nvSpPr>
        <p:spPr>
          <a:xfrm>
            <a:off x="342900" y="2926080"/>
            <a:ext cx="8458200" cy="173736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00000"/>
              <a:buFontTx/>
              <a:buNone/>
            </a:pPr>
            <a:r>
              <a:rPr lang="en-US" sz="3375" b="0">
                <a:solidFill>
                  <a:schemeClr val="tx1"/>
                </a:solidFill>
                <a:latin typeface="+mj-lt"/>
              </a:rPr>
              <a:t>Thank you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79D4DF77-3EF5-EE42-B584-7D896A52588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1" y="5305425"/>
            <a:ext cx="4114800" cy="9144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9pPr>
          </a:lstStyle>
          <a:p>
            <a:pPr lvl="0"/>
            <a:r>
              <a:rPr lang="en-US"/>
              <a:t>[Optional contact information]</a:t>
            </a:r>
          </a:p>
        </p:txBody>
      </p:sp>
    </p:spTree>
    <p:extLst>
      <p:ext uri="{BB962C8B-B14F-4D97-AF65-F5344CB8AC3E}">
        <p14:creationId xmlns:p14="http://schemas.microsoft.com/office/powerpoint/2010/main" val="15142418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">
    <p:bg>
      <p:bgPr>
        <a:gradFill>
          <a:gsLst>
            <a:gs pos="65000">
              <a:srgbClr val="170D67"/>
            </a:gs>
            <a:gs pos="100000">
              <a:srgbClr val="6E06C1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ECO" descr="PECO: An Exelon Company">
            <a:extLst>
              <a:ext uri="{FF2B5EF4-FFF2-40B4-BE49-F238E27FC236}">
                <a16:creationId xmlns:a16="http://schemas.microsoft.com/office/drawing/2014/main" id="{DA6E9EFB-9A4A-4845-8C41-FFE5AE5B79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700213" y="1784350"/>
            <a:ext cx="5743575" cy="328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2059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- Gray">
    <p:bg>
      <p:bgPr>
        <a:solidFill>
          <a:srgbClr val="DBD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ECO" descr="PECO: An Exelon Company">
            <a:extLst>
              <a:ext uri="{FF2B5EF4-FFF2-40B4-BE49-F238E27FC236}">
                <a16:creationId xmlns:a16="http://schemas.microsoft.com/office/drawing/2014/main" id="{8EADD1EA-08FE-BD43-89F4-1D6C443688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700213" y="1784350"/>
            <a:ext cx="5743575" cy="328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10357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ogo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ECO" descr="PECO: An Exelon Company">
            <a:extLst>
              <a:ext uri="{FF2B5EF4-FFF2-40B4-BE49-F238E27FC236}">
                <a16:creationId xmlns:a16="http://schemas.microsoft.com/office/drawing/2014/main" id="{00346728-1559-3141-8647-7C1E20A3C4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700213" y="1784350"/>
            <a:ext cx="5743575" cy="328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29834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0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4038600" y="2971800"/>
            <a:ext cx="4191000" cy="12192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1800">
                <a:solidFill>
                  <a:srgbClr val="666666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ctrTitle"/>
          </p:nvPr>
        </p:nvSpPr>
        <p:spPr>
          <a:xfrm>
            <a:off x="3505200" y="1524000"/>
            <a:ext cx="4953000" cy="1143000"/>
          </a:xfrm>
        </p:spPr>
        <p:txBody>
          <a:bodyPr/>
          <a:lstStyle>
            <a:lvl1pPr>
              <a:defRPr sz="2100">
                <a:solidFill>
                  <a:srgbClr val="66666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7885263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3157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Half Photo - Gray">
    <p:bg>
      <p:bgPr>
        <a:solidFill>
          <a:srgbClr val="DBD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ECO" descr="PECO: An Exelon Company">
            <a:extLst>
              <a:ext uri="{FF2B5EF4-FFF2-40B4-BE49-F238E27FC236}">
                <a16:creationId xmlns:a16="http://schemas.microsoft.com/office/drawing/2014/main" id="{D5CD640B-AC26-B142-8006-813CBDFF63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9" y="203203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4114800" cy="246888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2531" b="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5669280"/>
            <a:ext cx="41148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9pPr>
          </a:lstStyle>
          <a:p>
            <a:r>
              <a:rPr lang="en-US"/>
              <a:t>[Business Unit | Presenter Name]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98FF03FD-D721-FE49-9958-D1D94DE75B8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6300" y="0"/>
            <a:ext cx="4457700" cy="6858000"/>
          </a:xfrm>
          <a:solidFill>
            <a:srgbClr val="8B86B3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422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805615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ceHolder 1"/>
          <p:cNvSpPr>
            <a:spLocks noGrp="1"/>
          </p:cNvSpPr>
          <p:nvPr>
            <p:ph type="title"/>
          </p:nvPr>
        </p:nvSpPr>
        <p:spPr>
          <a:xfrm>
            <a:off x="457110" y="617476"/>
            <a:ext cx="8229330" cy="45704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en-IN" sz="3300" b="0" strike="noStrike" spc="-1">
              <a:latin typeface="Arial"/>
            </a:endParaRPr>
          </a:p>
        </p:txBody>
      </p:sp>
      <p:sp>
        <p:nvSpPr>
          <p:cNvPr id="6" name="PlaceHolder 2"/>
          <p:cNvSpPr>
            <a:spLocks noGrp="1"/>
          </p:cNvSpPr>
          <p:nvPr>
            <p:ph type="subTitle"/>
          </p:nvPr>
        </p:nvSpPr>
        <p:spPr>
          <a:xfrm>
            <a:off x="457110" y="3405801"/>
            <a:ext cx="8229330" cy="374718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/>
          <a:p>
            <a:pPr algn="ctr"/>
            <a:endParaRPr lang="en-IN" sz="24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72386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Half Photo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ECO" descr="PECO: An Exelon Company">
            <a:extLst>
              <a:ext uri="{FF2B5EF4-FFF2-40B4-BE49-F238E27FC236}">
                <a16:creationId xmlns:a16="http://schemas.microsoft.com/office/drawing/2014/main" id="{978A3E00-AD7C-BD48-9BF7-B043332D2B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9" y="203203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4114800" cy="246888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2531" b="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5669280"/>
            <a:ext cx="41148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9pPr>
          </a:lstStyle>
          <a:p>
            <a:r>
              <a:rPr lang="en-US"/>
              <a:t>[Business Unit | Presenter Name]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98FF03FD-D721-FE49-9958-D1D94DE75B8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6300" y="0"/>
            <a:ext cx="4457700" cy="685800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422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07140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B5CCE3BE-287D-5C40-8E88-33DE08CE2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E9F1870-3C4F-E343-9315-9272E669690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42903" y="1737360"/>
            <a:ext cx="7012781" cy="4480560"/>
          </a:xfrm>
        </p:spPr>
        <p:txBody>
          <a:bodyPr/>
          <a:lstStyle>
            <a:lvl1pPr marL="192881" indent="-192881">
              <a:buFont typeface="+mj-lt"/>
              <a:buAutoNum type="arabicPeriod"/>
              <a:defRPr sz="1013"/>
            </a:lvl1pPr>
            <a:lvl2pPr marL="289322" indent="-96441">
              <a:buFont typeface="Arial" panose="020B0604020202020204" pitchFamily="34" charset="0"/>
              <a:buChar char="–"/>
              <a:defRPr sz="675"/>
            </a:lvl2pPr>
            <a:lvl3pPr marL="385763" indent="-96441">
              <a:buFont typeface="Arial" panose="020B0604020202020204" pitchFamily="34" charset="0"/>
              <a:buChar char="–"/>
              <a:defRPr sz="675"/>
            </a:lvl3pPr>
            <a:lvl4pPr marL="482204" indent="-96441">
              <a:buFont typeface="Arial" panose="020B0604020202020204" pitchFamily="34" charset="0"/>
              <a:buChar char="–"/>
              <a:defRPr sz="675"/>
            </a:lvl4pPr>
            <a:lvl5pPr marL="578644" indent="-96441">
              <a:buFont typeface="Arial" panose="020B0604020202020204" pitchFamily="34" charset="0"/>
              <a:buChar char="–"/>
              <a:defRPr sz="675"/>
            </a:lvl5pPr>
            <a:lvl6pPr marL="675085" indent="-96441">
              <a:buFont typeface="Arial" panose="020B0604020202020204" pitchFamily="34" charset="0"/>
              <a:buChar char="–"/>
              <a:defRPr sz="675"/>
            </a:lvl6pPr>
            <a:lvl7pPr marL="771525" indent="-96441">
              <a:buFont typeface="Arial" panose="020B0604020202020204" pitchFamily="34" charset="0"/>
              <a:buChar char="–"/>
              <a:defRPr sz="675"/>
            </a:lvl7pPr>
            <a:lvl8pPr marL="867966" indent="-96441">
              <a:buFont typeface="Arial" panose="020B0604020202020204" pitchFamily="34" charset="0"/>
              <a:buChar char="–"/>
              <a:defRPr sz="675"/>
            </a:lvl8pPr>
            <a:lvl9pPr marL="964406" indent="-96441">
              <a:buFont typeface="Arial" panose="020B0604020202020204" pitchFamily="34" charset="0"/>
              <a:buChar char="–"/>
              <a:defRPr sz="675"/>
            </a:lvl9pPr>
          </a:lstStyle>
          <a:p>
            <a:pPr lvl="0"/>
            <a:r>
              <a:rPr lang="en-US"/>
              <a:t>[Agenda item]</a:t>
            </a:r>
          </a:p>
          <a:p>
            <a:pPr lvl="1"/>
            <a:r>
              <a:rPr lang="en-US"/>
              <a:t>[Agenda sub-item]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25788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6" orient="horz" pos="1092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6952" y="136525"/>
            <a:ext cx="7208107" cy="679832"/>
          </a:xfrm>
        </p:spPr>
        <p:txBody>
          <a:bodyPr>
            <a:no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09817"/>
            <a:ext cx="7886700" cy="484243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C1B4E3D2-6523-4F84-A951-C6829D40F3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8650" y="6336618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escometering.com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F2C09E2-0F6A-4950-80B1-3784761379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EAC4C4-F0A7-4B61-A827-E4198D07826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62384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gradFill>
          <a:gsLst>
            <a:gs pos="100000">
              <a:srgbClr val="6E06C1"/>
            </a:gs>
            <a:gs pos="65000">
              <a:srgbClr val="170D67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">
            <a:extLst>
              <a:ext uri="{FF2B5EF4-FFF2-40B4-BE49-F238E27FC236}">
                <a16:creationId xmlns:a16="http://schemas.microsoft.com/office/drawing/2014/main" id="{B078EA1A-886B-D948-BAAC-EBBBB34BC5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57" t="812" r="28978" b="33971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55B0C33-1FF8-8D45-92A3-4C74289F1F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ltGray">
          <a:xfrm>
            <a:off x="340522" y="454024"/>
            <a:ext cx="2669381" cy="1371600"/>
          </a:xfrm>
        </p:spPr>
        <p:txBody>
          <a:bodyPr wrap="none" tIns="45720" rIns="0" bIns="0" anchor="t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2pPr>
            <a:lvl3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3pPr>
            <a:lvl4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4pPr>
            <a:lvl5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5pPr>
            <a:lvl6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6pPr>
            <a:lvl7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7pPr>
            <a:lvl8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8pPr>
            <a:lvl9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9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641D334-3DBF-4D13-804B-67B29A3D48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522" y="2926080"/>
            <a:ext cx="8460581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2531" b="0">
                <a:solidFill>
                  <a:schemeClr val="tx1"/>
                </a:solidFill>
              </a:defRPr>
            </a:lvl1pPr>
          </a:lstStyle>
          <a:p>
            <a:r>
              <a:rPr lang="en-US"/>
              <a:t>[Section header title]</a:t>
            </a:r>
          </a:p>
        </p:txBody>
      </p:sp>
    </p:spTree>
    <p:extLst>
      <p:ext uri="{BB962C8B-B14F-4D97-AF65-F5344CB8AC3E}">
        <p14:creationId xmlns:p14="http://schemas.microsoft.com/office/powerpoint/2010/main" val="380247212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Gray">
    <p:bg>
      <p:bgPr>
        <a:solidFill>
          <a:srgbClr val="DBD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">
            <a:extLst>
              <a:ext uri="{FF2B5EF4-FFF2-40B4-BE49-F238E27FC236}">
                <a16:creationId xmlns:a16="http://schemas.microsoft.com/office/drawing/2014/main" id="{EC80D5FA-D7D6-344C-8305-FC61A0FD9D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55B0C33-1FF8-8D45-92A3-4C74289F1F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ltGray">
          <a:xfrm>
            <a:off x="340522" y="454024"/>
            <a:ext cx="2669381" cy="1371600"/>
          </a:xfrm>
        </p:spPr>
        <p:txBody>
          <a:bodyPr wrap="none" tIns="45720" rIns="0" bIns="0" anchor="t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2pPr>
            <a:lvl3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3pPr>
            <a:lvl4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4pPr>
            <a:lvl5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5pPr>
            <a:lvl6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6pPr>
            <a:lvl7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7pPr>
            <a:lvl8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8pPr>
            <a:lvl9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9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641D334-3DBF-4D13-804B-67B29A3D48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522" y="2926080"/>
            <a:ext cx="8460581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2531" b="0">
                <a:solidFill>
                  <a:schemeClr val="tx1"/>
                </a:solidFill>
              </a:defRPr>
            </a:lvl1pPr>
          </a:lstStyle>
          <a:p>
            <a:r>
              <a:rPr lang="en-US"/>
              <a:t>[Section header title]</a:t>
            </a:r>
          </a:p>
        </p:txBody>
      </p:sp>
    </p:spTree>
    <p:extLst>
      <p:ext uri="{BB962C8B-B14F-4D97-AF65-F5344CB8AC3E}">
        <p14:creationId xmlns:p14="http://schemas.microsoft.com/office/powerpoint/2010/main" val="476335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">
            <a:extLst>
              <a:ext uri="{FF2B5EF4-FFF2-40B4-BE49-F238E27FC236}">
                <a16:creationId xmlns:a16="http://schemas.microsoft.com/office/drawing/2014/main" id="{93E71FEF-77B6-5241-81B1-D0D833923F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55B0C33-1FF8-8D45-92A3-4C74289F1F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ltGray">
          <a:xfrm>
            <a:off x="340522" y="454024"/>
            <a:ext cx="2669381" cy="1371600"/>
          </a:xfrm>
        </p:spPr>
        <p:txBody>
          <a:bodyPr wrap="none" tIns="45720" rIns="0" bIns="0" anchor="t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2pPr>
            <a:lvl3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3pPr>
            <a:lvl4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4pPr>
            <a:lvl5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5pPr>
            <a:lvl6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6pPr>
            <a:lvl7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7pPr>
            <a:lvl8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8pPr>
            <a:lvl9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9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641D334-3DBF-4D13-804B-67B29A3D48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522" y="2926080"/>
            <a:ext cx="8460581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2531" b="0">
                <a:solidFill>
                  <a:schemeClr val="tx1"/>
                </a:solidFill>
              </a:defRPr>
            </a:lvl1pPr>
          </a:lstStyle>
          <a:p>
            <a:r>
              <a:rPr lang="en-US"/>
              <a:t>[Section header title]</a:t>
            </a:r>
          </a:p>
        </p:txBody>
      </p:sp>
    </p:spTree>
    <p:extLst>
      <p:ext uri="{BB962C8B-B14F-4D97-AF65-F5344CB8AC3E}">
        <p14:creationId xmlns:p14="http://schemas.microsoft.com/office/powerpoint/2010/main" val="28915250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Intr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41D334-3DBF-4D13-804B-67B29A3D48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522" y="1737358"/>
            <a:ext cx="5567363" cy="18288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1856" b="1">
                <a:solidFill>
                  <a:schemeClr val="tx1"/>
                </a:solidFill>
              </a:defRPr>
            </a:lvl1pPr>
          </a:lstStyle>
          <a:p>
            <a:r>
              <a:rPr lang="en-US"/>
              <a:t>[Speaker intro subject title]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1B685121-0D7D-4F48-835F-6C4245E490B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0521" y="3931920"/>
            <a:ext cx="5567363" cy="91440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760" b="1"/>
            </a:lvl1pPr>
            <a:lvl2pPr marL="0" indent="0">
              <a:spcBef>
                <a:spcPts val="0"/>
              </a:spcBef>
              <a:buFontTx/>
              <a:buNone/>
              <a:defRPr sz="760"/>
            </a:lvl2pPr>
            <a:lvl3pPr marL="96441" indent="-96441">
              <a:spcBef>
                <a:spcPts val="506"/>
              </a:spcBef>
              <a:buFont typeface="Arial" panose="020B0604020202020204" pitchFamily="34" charset="0"/>
              <a:buChar char="•"/>
              <a:defRPr/>
            </a:lvl3pPr>
            <a:lvl4pPr marL="192881">
              <a:defRPr/>
            </a:lvl4pPr>
            <a:lvl5pPr marL="289322" indent="-96441">
              <a:buFont typeface="Arial" panose="020B0604020202020204" pitchFamily="34" charset="0"/>
              <a:buChar char="»"/>
              <a:defRPr/>
            </a:lvl5pPr>
            <a:lvl6pPr marL="385763" indent="-96441">
              <a:buFont typeface="Arial" panose="020B0604020202020204" pitchFamily="34" charset="0"/>
              <a:buChar char="–"/>
              <a:defRPr/>
            </a:lvl6pPr>
            <a:lvl7pPr marL="482204" indent="-96441">
              <a:buFont typeface="Arial" panose="020B0604020202020204" pitchFamily="34" charset="0"/>
              <a:buChar char="–"/>
              <a:defRPr/>
            </a:lvl7pPr>
            <a:lvl8pPr marL="578644" indent="-96441">
              <a:buFont typeface="Arial" panose="020B0604020202020204" pitchFamily="34" charset="0"/>
              <a:buChar char="–"/>
              <a:defRPr/>
            </a:lvl8pPr>
            <a:lvl9pPr marL="675085" indent="-96441">
              <a:buFont typeface="Arial" panose="020B0604020202020204" pitchFamily="34" charset="0"/>
              <a:buChar char="–"/>
              <a:defRPr/>
            </a:lvl9pPr>
          </a:lstStyle>
          <a:p>
            <a:pPr lvl="0"/>
            <a:r>
              <a:rPr lang="en-US"/>
              <a:t>[Speaker Name]</a:t>
            </a:r>
          </a:p>
          <a:p>
            <a:pPr lvl="1"/>
            <a:r>
              <a:rPr lang="en-US"/>
              <a:t>[Speaker Title]</a:t>
            </a:r>
          </a:p>
        </p:txBody>
      </p:sp>
    </p:spTree>
    <p:extLst>
      <p:ext uri="{BB962C8B-B14F-4D97-AF65-F5344CB8AC3E}">
        <p14:creationId xmlns:p14="http://schemas.microsoft.com/office/powerpoint/2010/main" val="41812238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F331AC2-8E74-B243-8FDB-48E8D9AFE7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847E393-D3B7-8747-BD90-FFF722B7FC5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3" y="1737360"/>
            <a:ext cx="7012781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6292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22C30B5-3792-4E4B-A88E-9EB993E202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DA05FDA-F191-8E4B-9D3F-39F03BD735B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0" y="1737360"/>
            <a:ext cx="4114800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1B7D16F-A467-AD46-BFD4-6949827D3F4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686300" y="1737360"/>
            <a:ext cx="4112514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0081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hoto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22C30B5-3792-4E4B-A88E-9EB993E202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8003119E-6ED5-A04F-A9CB-BCB26099308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2900" y="1737358"/>
            <a:ext cx="4114800" cy="297180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422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9DA05FDA-F191-8E4B-9D3F-39F03BD735B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0" y="4937760"/>
            <a:ext cx="4114800" cy="1280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4D0CAF51-2B50-154B-BC7A-BF332C4DFDA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6300" y="1737358"/>
            <a:ext cx="4114800" cy="297180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422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C1B7D16F-A467-AD46-BFD4-6949827D3F4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686300" y="4937760"/>
            <a:ext cx="4114800" cy="1280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61973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108">
          <p15:clr>
            <a:srgbClr val="A4A3A4"/>
          </p15:clr>
        </p15:guide>
        <p15:guide id="2" orient="horz" pos="2968">
          <p15:clr>
            <a:srgbClr val="A4A3A4"/>
          </p15:clr>
        </p15:guide>
        <p15:guide id="3" orient="horz" pos="1092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9F140ED-A954-D843-87E1-8E636778CB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A87E07-D230-4A2B-90EB-BAFE34A4AD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42903" y="1737360"/>
            <a:ext cx="2666999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F30D3B-DD55-43C0-9A96-3AC11E0112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238504" y="1737360"/>
            <a:ext cx="2669381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E7CE142-0CA8-FE44-AEBE-6EA0C0C5956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136482" y="1737360"/>
            <a:ext cx="2662332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48533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hoto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AE667E5-98EE-5349-8A56-61BA231EA6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3" y="457200"/>
            <a:ext cx="7012781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3F6B296F-04BC-6341-B4FE-0C06D815992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2900" y="1737358"/>
            <a:ext cx="2667000" cy="2377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422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F2A87E07-D230-4A2B-90EB-BAFE34A4AD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42900" y="4343407"/>
            <a:ext cx="2667000" cy="1874519"/>
          </a:xfrm>
        </p:spPr>
        <p:txBody>
          <a:bodyPr/>
          <a:lstStyle>
            <a:lvl1pPr marL="77153" indent="-77153">
              <a:defRPr sz="591"/>
            </a:lvl1pPr>
            <a:lvl2pPr marL="154305" indent="-77153">
              <a:defRPr sz="591"/>
            </a:lvl2pPr>
            <a:lvl3pPr marL="231458" indent="-77153">
              <a:defRPr sz="591"/>
            </a:lvl3pPr>
            <a:lvl4pPr marL="308610" indent="-77153">
              <a:defRPr sz="591"/>
            </a:lvl4pPr>
            <a:lvl5pPr marL="385763" indent="-77153">
              <a:defRPr sz="591"/>
            </a:lvl5pPr>
            <a:lvl6pPr marL="462915" indent="-77153">
              <a:defRPr sz="591"/>
            </a:lvl6pPr>
            <a:lvl7pPr marL="540068" indent="-77153">
              <a:defRPr sz="591"/>
            </a:lvl7pPr>
            <a:lvl8pPr marL="617220" indent="-77153">
              <a:defRPr sz="591"/>
            </a:lvl8pPr>
            <a:lvl9pPr marL="694373" indent="-77153">
              <a:defRPr sz="59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68B1F4A6-D35D-314A-8458-FAACCF02778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38503" y="1737358"/>
            <a:ext cx="2669381" cy="2377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422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CFF30D3B-DD55-43C0-9A96-3AC11E0112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238504" y="4343407"/>
            <a:ext cx="2669381" cy="1874519"/>
          </a:xfrm>
        </p:spPr>
        <p:txBody>
          <a:bodyPr/>
          <a:lstStyle>
            <a:lvl1pPr marL="77153" indent="-77153">
              <a:defRPr sz="591"/>
            </a:lvl1pPr>
            <a:lvl2pPr marL="154305" indent="-77153">
              <a:defRPr sz="591"/>
            </a:lvl2pPr>
            <a:lvl3pPr marL="231458" indent="-77153">
              <a:defRPr sz="591"/>
            </a:lvl3pPr>
            <a:lvl4pPr marL="308610" indent="-77153">
              <a:defRPr sz="591"/>
            </a:lvl4pPr>
            <a:lvl5pPr marL="385763" indent="-77153">
              <a:defRPr sz="591"/>
            </a:lvl5pPr>
            <a:lvl6pPr marL="462915" indent="-77153">
              <a:defRPr sz="591"/>
            </a:lvl6pPr>
            <a:lvl7pPr marL="540068" indent="-77153">
              <a:defRPr sz="591"/>
            </a:lvl7pPr>
            <a:lvl8pPr marL="617220" indent="-77153">
              <a:defRPr sz="591"/>
            </a:lvl8pPr>
            <a:lvl9pPr marL="694373" indent="-77153">
              <a:defRPr sz="59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D3A36F88-D46F-A045-9FAE-DB4F02EE338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36485" y="1737358"/>
            <a:ext cx="2664619" cy="2377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422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3E7CE142-0CA8-FE44-AEBE-6EA0C0C5956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136485" y="4343407"/>
            <a:ext cx="2664619" cy="1874519"/>
          </a:xfrm>
        </p:spPr>
        <p:txBody>
          <a:bodyPr/>
          <a:lstStyle>
            <a:lvl1pPr marL="77153" indent="-77153">
              <a:defRPr sz="591"/>
            </a:lvl1pPr>
            <a:lvl2pPr marL="154305" indent="-77153">
              <a:defRPr sz="591"/>
            </a:lvl2pPr>
            <a:lvl3pPr marL="231458" indent="-77153">
              <a:defRPr sz="591"/>
            </a:lvl3pPr>
            <a:lvl4pPr marL="308610" indent="-77153">
              <a:defRPr sz="591"/>
            </a:lvl4pPr>
            <a:lvl5pPr marL="385763" indent="-77153">
              <a:defRPr sz="591"/>
            </a:lvl5pPr>
            <a:lvl6pPr marL="462915" indent="-77153">
              <a:defRPr sz="591"/>
            </a:lvl6pPr>
            <a:lvl7pPr marL="540068" indent="-77153">
              <a:defRPr sz="591"/>
            </a:lvl7pPr>
            <a:lvl8pPr marL="617220" indent="-77153">
              <a:defRPr sz="591"/>
            </a:lvl8pPr>
            <a:lvl9pPr marL="694373" indent="-77153">
              <a:defRPr sz="59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66593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6" orient="horz" pos="2592">
          <p15:clr>
            <a:srgbClr val="A4A3A4"/>
          </p15:clr>
        </p15:guide>
        <p15:guide id="7" orient="horz" pos="2734">
          <p15:clr>
            <a:srgbClr val="A4A3A4"/>
          </p15:clr>
        </p15:guide>
        <p15:guide id="8" orient="horz" pos="1092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41B625E-44A6-7E49-99D5-8C73EBF7E7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3" y="457200"/>
            <a:ext cx="7012781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A87E07-D230-4A2B-90EB-BAFE34A4AD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42903" y="1737360"/>
            <a:ext cx="1221581" cy="4480560"/>
          </a:xfrm>
        </p:spPr>
        <p:txBody>
          <a:bodyPr>
            <a:noAutofit/>
          </a:bodyPr>
          <a:lstStyle>
            <a:lvl1pPr marL="57865" indent="-57865">
              <a:spcBef>
                <a:spcPts val="380"/>
              </a:spcBef>
              <a:defRPr sz="506"/>
            </a:lvl1pPr>
            <a:lvl2pPr marL="115729" indent="-57865">
              <a:spcBef>
                <a:spcPts val="127"/>
              </a:spcBef>
              <a:defRPr sz="506"/>
            </a:lvl2pPr>
            <a:lvl3pPr marL="173594" indent="-57865">
              <a:spcBef>
                <a:spcPts val="127"/>
              </a:spcBef>
              <a:defRPr sz="506"/>
            </a:lvl3pPr>
            <a:lvl4pPr marL="231458" indent="-57865">
              <a:spcBef>
                <a:spcPts val="127"/>
              </a:spcBef>
              <a:defRPr sz="506"/>
            </a:lvl4pPr>
            <a:lvl5pPr marL="289322" indent="-57865">
              <a:spcBef>
                <a:spcPts val="127"/>
              </a:spcBef>
              <a:defRPr sz="506"/>
            </a:lvl5pPr>
            <a:lvl6pPr marL="347186" indent="-57865">
              <a:spcBef>
                <a:spcPts val="127"/>
              </a:spcBef>
              <a:defRPr sz="506"/>
            </a:lvl6pPr>
            <a:lvl7pPr marL="405051" indent="-57865">
              <a:spcBef>
                <a:spcPts val="127"/>
              </a:spcBef>
              <a:defRPr sz="506"/>
            </a:lvl7pPr>
            <a:lvl8pPr marL="462915" indent="-57865">
              <a:spcBef>
                <a:spcPts val="127"/>
              </a:spcBef>
              <a:defRPr sz="506"/>
            </a:lvl8pPr>
            <a:lvl9pPr marL="520780" indent="-57865">
              <a:spcBef>
                <a:spcPts val="127"/>
              </a:spcBef>
              <a:defRPr sz="50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F30D3B-DD55-43C0-9A96-3AC11E0112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790704" y="1737360"/>
            <a:ext cx="1219961" cy="4480560"/>
          </a:xfrm>
        </p:spPr>
        <p:txBody>
          <a:bodyPr>
            <a:noAutofit/>
          </a:bodyPr>
          <a:lstStyle>
            <a:lvl1pPr marL="57865" indent="-57865">
              <a:spcBef>
                <a:spcPts val="380"/>
              </a:spcBef>
              <a:defRPr sz="506"/>
            </a:lvl1pPr>
            <a:lvl2pPr marL="115729" indent="-57865">
              <a:spcBef>
                <a:spcPts val="127"/>
              </a:spcBef>
              <a:defRPr sz="506"/>
            </a:lvl2pPr>
            <a:lvl3pPr marL="173594" indent="-57865">
              <a:spcBef>
                <a:spcPts val="127"/>
              </a:spcBef>
              <a:defRPr sz="506"/>
            </a:lvl3pPr>
            <a:lvl4pPr marL="231458" indent="-57865">
              <a:spcBef>
                <a:spcPts val="127"/>
              </a:spcBef>
              <a:defRPr sz="506"/>
            </a:lvl4pPr>
            <a:lvl5pPr marL="289322" indent="-57865">
              <a:spcBef>
                <a:spcPts val="127"/>
              </a:spcBef>
              <a:defRPr sz="506"/>
            </a:lvl5pPr>
            <a:lvl6pPr marL="347186" indent="-57865">
              <a:spcBef>
                <a:spcPts val="127"/>
              </a:spcBef>
              <a:defRPr sz="506"/>
            </a:lvl6pPr>
            <a:lvl7pPr marL="405051" indent="-57865">
              <a:spcBef>
                <a:spcPts val="127"/>
              </a:spcBef>
              <a:defRPr sz="506"/>
            </a:lvl7pPr>
            <a:lvl8pPr marL="462915" indent="-57865">
              <a:spcBef>
                <a:spcPts val="127"/>
              </a:spcBef>
              <a:defRPr sz="506"/>
            </a:lvl8pPr>
            <a:lvl9pPr marL="520780" indent="-57865">
              <a:spcBef>
                <a:spcPts val="127"/>
              </a:spcBef>
              <a:defRPr sz="50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E7CE142-0CA8-FE44-AEBE-6EA0C0C5956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38504" y="1737360"/>
            <a:ext cx="1219199" cy="4480560"/>
          </a:xfrm>
        </p:spPr>
        <p:txBody>
          <a:bodyPr>
            <a:noAutofit/>
          </a:bodyPr>
          <a:lstStyle>
            <a:lvl1pPr marL="57865" indent="-57865">
              <a:spcBef>
                <a:spcPts val="380"/>
              </a:spcBef>
              <a:defRPr sz="506"/>
            </a:lvl1pPr>
            <a:lvl2pPr marL="115729" indent="-57865">
              <a:spcBef>
                <a:spcPts val="127"/>
              </a:spcBef>
              <a:defRPr sz="506"/>
            </a:lvl2pPr>
            <a:lvl3pPr marL="173594" indent="-57865">
              <a:spcBef>
                <a:spcPts val="127"/>
              </a:spcBef>
              <a:defRPr sz="506"/>
            </a:lvl3pPr>
            <a:lvl4pPr marL="231458" indent="-57865">
              <a:spcBef>
                <a:spcPts val="127"/>
              </a:spcBef>
              <a:defRPr sz="506"/>
            </a:lvl4pPr>
            <a:lvl5pPr marL="289322" indent="-57865">
              <a:spcBef>
                <a:spcPts val="127"/>
              </a:spcBef>
              <a:defRPr sz="506"/>
            </a:lvl5pPr>
            <a:lvl6pPr marL="347186" indent="-57865">
              <a:spcBef>
                <a:spcPts val="127"/>
              </a:spcBef>
              <a:defRPr sz="506"/>
            </a:lvl6pPr>
            <a:lvl7pPr marL="405051" indent="-57865">
              <a:spcBef>
                <a:spcPts val="127"/>
              </a:spcBef>
              <a:defRPr sz="506"/>
            </a:lvl7pPr>
            <a:lvl8pPr marL="462915" indent="-57865">
              <a:spcBef>
                <a:spcPts val="127"/>
              </a:spcBef>
              <a:defRPr sz="506"/>
            </a:lvl8pPr>
            <a:lvl9pPr marL="520780" indent="-57865">
              <a:spcBef>
                <a:spcPts val="127"/>
              </a:spcBef>
              <a:defRPr sz="50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5BC9E542-5C7A-5F45-986F-1849A865FCE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86303" y="1737360"/>
            <a:ext cx="1219199" cy="4480560"/>
          </a:xfrm>
        </p:spPr>
        <p:txBody>
          <a:bodyPr>
            <a:noAutofit/>
          </a:bodyPr>
          <a:lstStyle>
            <a:lvl1pPr marL="57865" indent="-57865">
              <a:spcBef>
                <a:spcPts val="380"/>
              </a:spcBef>
              <a:defRPr sz="506"/>
            </a:lvl1pPr>
            <a:lvl2pPr marL="115729" indent="-57865">
              <a:spcBef>
                <a:spcPts val="127"/>
              </a:spcBef>
              <a:defRPr sz="506"/>
            </a:lvl2pPr>
            <a:lvl3pPr marL="173594" indent="-57865">
              <a:spcBef>
                <a:spcPts val="127"/>
              </a:spcBef>
              <a:defRPr sz="506"/>
            </a:lvl3pPr>
            <a:lvl4pPr marL="231458" indent="-57865">
              <a:spcBef>
                <a:spcPts val="127"/>
              </a:spcBef>
              <a:defRPr sz="506"/>
            </a:lvl4pPr>
            <a:lvl5pPr marL="289322" indent="-57865">
              <a:spcBef>
                <a:spcPts val="127"/>
              </a:spcBef>
              <a:defRPr sz="506"/>
            </a:lvl5pPr>
            <a:lvl6pPr marL="347186" indent="-57865">
              <a:spcBef>
                <a:spcPts val="127"/>
              </a:spcBef>
              <a:defRPr sz="506"/>
            </a:lvl6pPr>
            <a:lvl7pPr marL="405051" indent="-57865">
              <a:spcBef>
                <a:spcPts val="127"/>
              </a:spcBef>
              <a:defRPr sz="506"/>
            </a:lvl7pPr>
            <a:lvl8pPr marL="462915" indent="-57865">
              <a:spcBef>
                <a:spcPts val="127"/>
              </a:spcBef>
              <a:defRPr sz="506"/>
            </a:lvl8pPr>
            <a:lvl9pPr marL="520780" indent="-57865">
              <a:spcBef>
                <a:spcPts val="127"/>
              </a:spcBef>
              <a:defRPr sz="50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6544A43D-2F1E-3848-B23C-4FBC4563348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36486" y="1737360"/>
            <a:ext cx="1219199" cy="4480560"/>
          </a:xfrm>
        </p:spPr>
        <p:txBody>
          <a:bodyPr>
            <a:noAutofit/>
          </a:bodyPr>
          <a:lstStyle>
            <a:lvl1pPr marL="57865" indent="-57865">
              <a:spcBef>
                <a:spcPts val="380"/>
              </a:spcBef>
              <a:defRPr sz="506"/>
            </a:lvl1pPr>
            <a:lvl2pPr marL="115729" indent="-57865">
              <a:spcBef>
                <a:spcPts val="127"/>
              </a:spcBef>
              <a:defRPr sz="506"/>
            </a:lvl2pPr>
            <a:lvl3pPr marL="173594" indent="-57865">
              <a:spcBef>
                <a:spcPts val="127"/>
              </a:spcBef>
              <a:defRPr sz="506"/>
            </a:lvl3pPr>
            <a:lvl4pPr marL="231458" indent="-57865">
              <a:spcBef>
                <a:spcPts val="127"/>
              </a:spcBef>
              <a:defRPr sz="506"/>
            </a:lvl4pPr>
            <a:lvl5pPr marL="289322" indent="-57865">
              <a:spcBef>
                <a:spcPts val="127"/>
              </a:spcBef>
              <a:defRPr sz="506"/>
            </a:lvl5pPr>
            <a:lvl6pPr marL="347186" indent="-57865">
              <a:spcBef>
                <a:spcPts val="127"/>
              </a:spcBef>
              <a:defRPr sz="506"/>
            </a:lvl6pPr>
            <a:lvl7pPr marL="405051" indent="-57865">
              <a:spcBef>
                <a:spcPts val="127"/>
              </a:spcBef>
              <a:defRPr sz="506"/>
            </a:lvl7pPr>
            <a:lvl8pPr marL="462915" indent="-57865">
              <a:spcBef>
                <a:spcPts val="127"/>
              </a:spcBef>
              <a:defRPr sz="506"/>
            </a:lvl8pPr>
            <a:lvl9pPr marL="520780" indent="-57865">
              <a:spcBef>
                <a:spcPts val="127"/>
              </a:spcBef>
              <a:defRPr sz="50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7">
            <a:extLst>
              <a:ext uri="{FF2B5EF4-FFF2-40B4-BE49-F238E27FC236}">
                <a16:creationId xmlns:a16="http://schemas.microsoft.com/office/drawing/2014/main" id="{E2895ADA-48AA-C84D-A65B-7441BB140A9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586666" y="1737360"/>
            <a:ext cx="1212148" cy="4480560"/>
          </a:xfrm>
        </p:spPr>
        <p:txBody>
          <a:bodyPr>
            <a:noAutofit/>
          </a:bodyPr>
          <a:lstStyle>
            <a:lvl1pPr marL="57865" indent="-57865">
              <a:spcBef>
                <a:spcPts val="380"/>
              </a:spcBef>
              <a:defRPr sz="506"/>
            </a:lvl1pPr>
            <a:lvl2pPr marL="115729" indent="-57865">
              <a:spcBef>
                <a:spcPts val="127"/>
              </a:spcBef>
              <a:defRPr sz="506"/>
            </a:lvl2pPr>
            <a:lvl3pPr marL="173594" indent="-57865">
              <a:spcBef>
                <a:spcPts val="127"/>
              </a:spcBef>
              <a:defRPr sz="506"/>
            </a:lvl3pPr>
            <a:lvl4pPr marL="231458" indent="-57865">
              <a:spcBef>
                <a:spcPts val="127"/>
              </a:spcBef>
              <a:defRPr sz="506"/>
            </a:lvl4pPr>
            <a:lvl5pPr marL="289322" indent="-57865">
              <a:spcBef>
                <a:spcPts val="127"/>
              </a:spcBef>
              <a:defRPr sz="506"/>
            </a:lvl5pPr>
            <a:lvl6pPr marL="347186" indent="-57865">
              <a:spcBef>
                <a:spcPts val="127"/>
              </a:spcBef>
              <a:defRPr sz="506"/>
            </a:lvl6pPr>
            <a:lvl7pPr marL="405051" indent="-57865">
              <a:spcBef>
                <a:spcPts val="127"/>
              </a:spcBef>
              <a:defRPr sz="506"/>
            </a:lvl7pPr>
            <a:lvl8pPr marL="462915" indent="-57865">
              <a:spcBef>
                <a:spcPts val="127"/>
              </a:spcBef>
              <a:defRPr sz="506"/>
            </a:lvl8pPr>
            <a:lvl9pPr marL="520780" indent="-57865">
              <a:spcBef>
                <a:spcPts val="127"/>
              </a:spcBef>
              <a:defRPr sz="50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95998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2174" y="570261"/>
            <a:ext cx="7069034" cy="3442130"/>
          </a:xfrm>
        </p:spPr>
        <p:txBody>
          <a:bodyPr anchor="b">
            <a:noAutofit/>
          </a:bodyPr>
          <a:lstStyle>
            <a:lvl1pPr>
              <a:defRPr sz="6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6609" y="4566676"/>
            <a:ext cx="6323978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85CCE1F-5BFE-436E-A352-A0224124D7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42018" y="6356352"/>
            <a:ext cx="29707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escometering.com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8CE0CA-7507-423A-8995-E96F69FD8A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EAC4C4-F0A7-4B61-A827-E4198D07826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78CC3A4-B862-EF21-7892-19E165FA85F9}"/>
              </a:ext>
            </a:extLst>
          </p:cNvPr>
          <p:cNvSpPr/>
          <p:nvPr userDrawn="1"/>
        </p:nvSpPr>
        <p:spPr>
          <a:xfrm>
            <a:off x="1504951" y="723016"/>
            <a:ext cx="7468929" cy="3651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6" name="Picture 5" descr="A building with a tower&#10;&#10;Description automatically generated">
            <a:extLst>
              <a:ext uri="{FF2B5EF4-FFF2-40B4-BE49-F238E27FC236}">
                <a16:creationId xmlns:a16="http://schemas.microsoft.com/office/drawing/2014/main" id="{5BFA177E-4D12-6311-2BA3-00768C94FD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3253" y="0"/>
            <a:ext cx="2335427" cy="6858000"/>
          </a:xfrm>
          <a:prstGeom prst="rect">
            <a:avLst/>
          </a:prstGeom>
        </p:spPr>
      </p:pic>
      <p:pic>
        <p:nvPicPr>
          <p:cNvPr id="9" name="Picture 8" descr="A red and black logo&#10;&#10;Description automatically generated">
            <a:extLst>
              <a:ext uri="{FF2B5EF4-FFF2-40B4-BE49-F238E27FC236}">
                <a16:creationId xmlns:a16="http://schemas.microsoft.com/office/drawing/2014/main" id="{12952CE3-364E-1AF8-155D-3DAF073B6BC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000" y="228600"/>
            <a:ext cx="2329391" cy="1421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51209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Photo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41B625E-44A6-7E49-99D5-8C73EBF7E7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3" y="457200"/>
            <a:ext cx="7012781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5D8E3C3A-BC08-3E46-9CCD-F118AD3A5FC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2900" y="1737358"/>
            <a:ext cx="1220724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422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F2A87E07-D230-4A2B-90EB-BAFE34A4AD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42903" y="3154680"/>
            <a:ext cx="1221581" cy="3063240"/>
          </a:xfrm>
        </p:spPr>
        <p:txBody>
          <a:bodyPr>
            <a:noAutofit/>
          </a:bodyPr>
          <a:lstStyle>
            <a:lvl1pPr marL="57865" indent="-57865">
              <a:spcBef>
                <a:spcPts val="380"/>
              </a:spcBef>
              <a:defRPr sz="506"/>
            </a:lvl1pPr>
            <a:lvl2pPr marL="115729" indent="-57865">
              <a:spcBef>
                <a:spcPts val="127"/>
              </a:spcBef>
              <a:defRPr sz="506"/>
            </a:lvl2pPr>
            <a:lvl3pPr marL="173594" indent="-57865">
              <a:spcBef>
                <a:spcPts val="127"/>
              </a:spcBef>
              <a:defRPr sz="506"/>
            </a:lvl3pPr>
            <a:lvl4pPr marL="231458" indent="-57865">
              <a:spcBef>
                <a:spcPts val="127"/>
              </a:spcBef>
              <a:defRPr sz="506"/>
            </a:lvl4pPr>
            <a:lvl5pPr marL="289322" indent="-57865">
              <a:spcBef>
                <a:spcPts val="127"/>
              </a:spcBef>
              <a:defRPr sz="506"/>
            </a:lvl5pPr>
            <a:lvl6pPr marL="347186" indent="-57865">
              <a:spcBef>
                <a:spcPts val="127"/>
              </a:spcBef>
              <a:defRPr sz="506"/>
            </a:lvl6pPr>
            <a:lvl7pPr marL="405051" indent="-57865">
              <a:spcBef>
                <a:spcPts val="127"/>
              </a:spcBef>
              <a:defRPr sz="506"/>
            </a:lvl7pPr>
            <a:lvl8pPr marL="462915" indent="-57865">
              <a:spcBef>
                <a:spcPts val="127"/>
              </a:spcBef>
              <a:defRPr sz="506"/>
            </a:lvl8pPr>
            <a:lvl9pPr marL="520780" indent="-57865">
              <a:spcBef>
                <a:spcPts val="127"/>
              </a:spcBef>
              <a:defRPr sz="50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EFA28167-CB7D-C341-84A9-A9F9D24B95A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790700" y="1737358"/>
            <a:ext cx="1220724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422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CFF30D3B-DD55-43C0-9A96-3AC11E0112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790704" y="3154680"/>
            <a:ext cx="1219961" cy="3063240"/>
          </a:xfrm>
        </p:spPr>
        <p:txBody>
          <a:bodyPr>
            <a:noAutofit/>
          </a:bodyPr>
          <a:lstStyle>
            <a:lvl1pPr marL="57865" indent="-57865">
              <a:spcBef>
                <a:spcPts val="380"/>
              </a:spcBef>
              <a:defRPr sz="506"/>
            </a:lvl1pPr>
            <a:lvl2pPr marL="115729" indent="-57865">
              <a:spcBef>
                <a:spcPts val="127"/>
              </a:spcBef>
              <a:defRPr sz="506"/>
            </a:lvl2pPr>
            <a:lvl3pPr marL="173594" indent="-57865">
              <a:spcBef>
                <a:spcPts val="127"/>
              </a:spcBef>
              <a:defRPr sz="506"/>
            </a:lvl3pPr>
            <a:lvl4pPr marL="231458" indent="-57865">
              <a:spcBef>
                <a:spcPts val="127"/>
              </a:spcBef>
              <a:defRPr sz="506"/>
            </a:lvl4pPr>
            <a:lvl5pPr marL="289322" indent="-57865">
              <a:spcBef>
                <a:spcPts val="127"/>
              </a:spcBef>
              <a:defRPr sz="506"/>
            </a:lvl5pPr>
            <a:lvl6pPr marL="347186" indent="-57865">
              <a:spcBef>
                <a:spcPts val="127"/>
              </a:spcBef>
              <a:defRPr sz="506"/>
            </a:lvl6pPr>
            <a:lvl7pPr marL="405051" indent="-57865">
              <a:spcBef>
                <a:spcPts val="127"/>
              </a:spcBef>
              <a:defRPr sz="506"/>
            </a:lvl7pPr>
            <a:lvl8pPr marL="462915" indent="-57865">
              <a:spcBef>
                <a:spcPts val="127"/>
              </a:spcBef>
              <a:defRPr sz="506"/>
            </a:lvl8pPr>
            <a:lvl9pPr marL="520780" indent="-57865">
              <a:spcBef>
                <a:spcPts val="127"/>
              </a:spcBef>
              <a:defRPr sz="50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BB98807F-BA29-0440-AC0B-37992865D5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38501" y="1737358"/>
            <a:ext cx="1220724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422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3E7CE142-0CA8-FE44-AEBE-6EA0C0C5956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38504" y="3154680"/>
            <a:ext cx="1219199" cy="3063240"/>
          </a:xfrm>
        </p:spPr>
        <p:txBody>
          <a:bodyPr>
            <a:noAutofit/>
          </a:bodyPr>
          <a:lstStyle>
            <a:lvl1pPr marL="57865" indent="-57865">
              <a:spcBef>
                <a:spcPts val="380"/>
              </a:spcBef>
              <a:defRPr sz="506"/>
            </a:lvl1pPr>
            <a:lvl2pPr marL="115729" indent="-57865">
              <a:spcBef>
                <a:spcPts val="127"/>
              </a:spcBef>
              <a:defRPr sz="506"/>
            </a:lvl2pPr>
            <a:lvl3pPr marL="173594" indent="-57865">
              <a:spcBef>
                <a:spcPts val="127"/>
              </a:spcBef>
              <a:defRPr sz="506"/>
            </a:lvl3pPr>
            <a:lvl4pPr marL="231458" indent="-57865">
              <a:spcBef>
                <a:spcPts val="127"/>
              </a:spcBef>
              <a:defRPr sz="506"/>
            </a:lvl4pPr>
            <a:lvl5pPr marL="289322" indent="-57865">
              <a:spcBef>
                <a:spcPts val="127"/>
              </a:spcBef>
              <a:defRPr sz="506"/>
            </a:lvl5pPr>
            <a:lvl6pPr marL="347186" indent="-57865">
              <a:spcBef>
                <a:spcPts val="127"/>
              </a:spcBef>
              <a:defRPr sz="506"/>
            </a:lvl6pPr>
            <a:lvl7pPr marL="405051" indent="-57865">
              <a:spcBef>
                <a:spcPts val="127"/>
              </a:spcBef>
              <a:defRPr sz="506"/>
            </a:lvl7pPr>
            <a:lvl8pPr marL="462915" indent="-57865">
              <a:spcBef>
                <a:spcPts val="127"/>
              </a:spcBef>
              <a:defRPr sz="506"/>
            </a:lvl8pPr>
            <a:lvl9pPr marL="520780" indent="-57865">
              <a:spcBef>
                <a:spcPts val="127"/>
              </a:spcBef>
              <a:defRPr sz="50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AFFF6CCC-8DBB-A741-AA67-EC14C297B81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86300" y="1737358"/>
            <a:ext cx="1220724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422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5BC9E542-5C7A-5F45-986F-1849A865FCE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86303" y="3154680"/>
            <a:ext cx="1219199" cy="3063240"/>
          </a:xfrm>
        </p:spPr>
        <p:txBody>
          <a:bodyPr>
            <a:noAutofit/>
          </a:bodyPr>
          <a:lstStyle>
            <a:lvl1pPr marL="57865" indent="-57865">
              <a:spcBef>
                <a:spcPts val="380"/>
              </a:spcBef>
              <a:defRPr sz="506"/>
            </a:lvl1pPr>
            <a:lvl2pPr marL="115729" indent="-57865">
              <a:spcBef>
                <a:spcPts val="127"/>
              </a:spcBef>
              <a:defRPr sz="506"/>
            </a:lvl2pPr>
            <a:lvl3pPr marL="173594" indent="-57865">
              <a:spcBef>
                <a:spcPts val="127"/>
              </a:spcBef>
              <a:defRPr sz="506"/>
            </a:lvl3pPr>
            <a:lvl4pPr marL="231458" indent="-57865">
              <a:spcBef>
                <a:spcPts val="127"/>
              </a:spcBef>
              <a:defRPr sz="506"/>
            </a:lvl4pPr>
            <a:lvl5pPr marL="289322" indent="-57865">
              <a:spcBef>
                <a:spcPts val="127"/>
              </a:spcBef>
              <a:defRPr sz="506"/>
            </a:lvl5pPr>
            <a:lvl6pPr marL="347186" indent="-57865">
              <a:spcBef>
                <a:spcPts val="127"/>
              </a:spcBef>
              <a:defRPr sz="506"/>
            </a:lvl6pPr>
            <a:lvl7pPr marL="405051" indent="-57865">
              <a:spcBef>
                <a:spcPts val="127"/>
              </a:spcBef>
              <a:defRPr sz="506"/>
            </a:lvl7pPr>
            <a:lvl8pPr marL="462915" indent="-57865">
              <a:spcBef>
                <a:spcPts val="127"/>
              </a:spcBef>
              <a:defRPr sz="506"/>
            </a:lvl8pPr>
            <a:lvl9pPr marL="520780" indent="-57865">
              <a:spcBef>
                <a:spcPts val="127"/>
              </a:spcBef>
              <a:defRPr sz="50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5B678099-6AAF-EE4E-81F3-60755C4436F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36483" y="1737358"/>
            <a:ext cx="1220724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422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Content Placeholder 11">
            <a:extLst>
              <a:ext uri="{FF2B5EF4-FFF2-40B4-BE49-F238E27FC236}">
                <a16:creationId xmlns:a16="http://schemas.microsoft.com/office/drawing/2014/main" id="{6544A43D-2F1E-3848-B23C-4FBC4563348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36486" y="3154680"/>
            <a:ext cx="1219199" cy="3063240"/>
          </a:xfrm>
        </p:spPr>
        <p:txBody>
          <a:bodyPr>
            <a:noAutofit/>
          </a:bodyPr>
          <a:lstStyle>
            <a:lvl1pPr marL="57865" indent="-57865">
              <a:spcBef>
                <a:spcPts val="380"/>
              </a:spcBef>
              <a:defRPr sz="506"/>
            </a:lvl1pPr>
            <a:lvl2pPr marL="115729" indent="-57865">
              <a:spcBef>
                <a:spcPts val="127"/>
              </a:spcBef>
              <a:defRPr sz="506"/>
            </a:lvl2pPr>
            <a:lvl3pPr marL="173594" indent="-57865">
              <a:spcBef>
                <a:spcPts val="127"/>
              </a:spcBef>
              <a:defRPr sz="506"/>
            </a:lvl3pPr>
            <a:lvl4pPr marL="231458" indent="-57865">
              <a:spcBef>
                <a:spcPts val="127"/>
              </a:spcBef>
              <a:defRPr sz="506"/>
            </a:lvl4pPr>
            <a:lvl5pPr marL="289322" indent="-57865">
              <a:spcBef>
                <a:spcPts val="127"/>
              </a:spcBef>
              <a:defRPr sz="506"/>
            </a:lvl5pPr>
            <a:lvl6pPr marL="347186" indent="-57865">
              <a:spcBef>
                <a:spcPts val="127"/>
              </a:spcBef>
              <a:defRPr sz="506"/>
            </a:lvl6pPr>
            <a:lvl7pPr marL="405051" indent="-57865">
              <a:spcBef>
                <a:spcPts val="127"/>
              </a:spcBef>
              <a:defRPr sz="506"/>
            </a:lvl7pPr>
            <a:lvl8pPr marL="462915" indent="-57865">
              <a:spcBef>
                <a:spcPts val="127"/>
              </a:spcBef>
              <a:defRPr sz="506"/>
            </a:lvl8pPr>
            <a:lvl9pPr marL="520780" indent="-57865">
              <a:spcBef>
                <a:spcPts val="127"/>
              </a:spcBef>
              <a:defRPr sz="50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EF3DFB9E-32BB-C040-8B1A-72E687796F0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586666" y="1737358"/>
            <a:ext cx="1212148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422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Content Placeholder 13">
            <a:extLst>
              <a:ext uri="{FF2B5EF4-FFF2-40B4-BE49-F238E27FC236}">
                <a16:creationId xmlns:a16="http://schemas.microsoft.com/office/drawing/2014/main" id="{E2895ADA-48AA-C84D-A65B-7441BB140A9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586666" y="3154680"/>
            <a:ext cx="1212148" cy="3063240"/>
          </a:xfrm>
        </p:spPr>
        <p:txBody>
          <a:bodyPr>
            <a:noAutofit/>
          </a:bodyPr>
          <a:lstStyle>
            <a:lvl1pPr marL="57865" indent="-57865">
              <a:spcBef>
                <a:spcPts val="380"/>
              </a:spcBef>
              <a:defRPr sz="506"/>
            </a:lvl1pPr>
            <a:lvl2pPr marL="115729" indent="-57865">
              <a:spcBef>
                <a:spcPts val="127"/>
              </a:spcBef>
              <a:defRPr sz="506"/>
            </a:lvl2pPr>
            <a:lvl3pPr marL="173594" indent="-57865">
              <a:spcBef>
                <a:spcPts val="127"/>
              </a:spcBef>
              <a:defRPr sz="506"/>
            </a:lvl3pPr>
            <a:lvl4pPr marL="231458" indent="-57865">
              <a:spcBef>
                <a:spcPts val="127"/>
              </a:spcBef>
              <a:defRPr sz="506"/>
            </a:lvl4pPr>
            <a:lvl5pPr marL="289322" indent="-57865">
              <a:spcBef>
                <a:spcPts val="127"/>
              </a:spcBef>
              <a:defRPr sz="506"/>
            </a:lvl5pPr>
            <a:lvl6pPr marL="347186" indent="-57865">
              <a:spcBef>
                <a:spcPts val="127"/>
              </a:spcBef>
              <a:defRPr sz="506"/>
            </a:lvl6pPr>
            <a:lvl7pPr marL="405051" indent="-57865">
              <a:spcBef>
                <a:spcPts val="127"/>
              </a:spcBef>
              <a:defRPr sz="506"/>
            </a:lvl7pPr>
            <a:lvl8pPr marL="462915" indent="-57865">
              <a:spcBef>
                <a:spcPts val="127"/>
              </a:spcBef>
              <a:defRPr sz="506"/>
            </a:lvl8pPr>
            <a:lvl9pPr marL="520780" indent="-57865">
              <a:spcBef>
                <a:spcPts val="127"/>
              </a:spcBef>
              <a:defRPr sz="50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3576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872">
          <p15:clr>
            <a:srgbClr val="A4A3A4"/>
          </p15:clr>
        </p15:guide>
        <p15:guide id="2" orient="horz" pos="1986">
          <p15:clr>
            <a:srgbClr val="A4A3A4"/>
          </p15:clr>
        </p15:guide>
        <p15:guide id="3" orient="horz" pos="1092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DB856AC-3CE9-C745-8E1F-72AC71377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3" y="457200"/>
            <a:ext cx="7012781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465466B-3F33-DB47-84A2-6F568D25265F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42900" y="1737360"/>
            <a:ext cx="2667000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EBA115F8-994C-8A4C-ACE0-25AE5F0718D6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239814" y="1737360"/>
            <a:ext cx="5561286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40935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9ED47DF-F22C-3D49-B066-4B51EE7042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3" y="457200"/>
            <a:ext cx="7012781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4C90D45-1AE3-474C-8013-D60AA387A812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42899" y="1737360"/>
            <a:ext cx="5564982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91FEA3D8-D639-BC4F-BDEF-E6116326D0B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136483" y="1737360"/>
            <a:ext cx="2664620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38434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9D742D-B3DC-AA4D-912D-5EA93D9647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Optional slide title]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EDC1505-1CCF-3145-B369-C90344F39B0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42903" y="1737360"/>
            <a:ext cx="7012781" cy="448056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2025" b="0">
                <a:solidFill>
                  <a:schemeClr val="tx1"/>
                </a:solidFill>
              </a:defRPr>
            </a:lvl1pPr>
            <a:lvl2pPr marL="96441" indent="-96441">
              <a:lnSpc>
                <a:spcPct val="110000"/>
              </a:lnSpc>
              <a:spcBef>
                <a:spcPts val="506"/>
              </a:spcBef>
              <a:buFont typeface="Arial" panose="020B0604020202020204" pitchFamily="34" charset="0"/>
              <a:buChar char="–"/>
              <a:defRPr sz="675" b="0">
                <a:solidFill>
                  <a:schemeClr val="tx1"/>
                </a:solidFill>
              </a:defRPr>
            </a:lvl2pPr>
            <a:lvl3pPr marL="192881" indent="-77153">
              <a:spcBef>
                <a:spcPts val="127"/>
              </a:spcBef>
              <a:buClrTx/>
              <a:buFont typeface="Arial" panose="020B0604020202020204" pitchFamily="34" charset="0"/>
              <a:buChar char="–"/>
              <a:defRPr/>
            </a:lvl3pPr>
            <a:lvl4pPr marL="289322" indent="-96441">
              <a:spcBef>
                <a:spcPts val="127"/>
              </a:spcBef>
              <a:buClrTx/>
              <a:buFont typeface="Arial" panose="020B0604020202020204" pitchFamily="34" charset="0"/>
              <a:buChar char="–"/>
              <a:defRPr/>
            </a:lvl4pPr>
            <a:lvl5pPr marL="385763" indent="-96441">
              <a:spcBef>
                <a:spcPts val="127"/>
              </a:spcBef>
              <a:buClrTx/>
              <a:buFont typeface="Arial" panose="020B0604020202020204" pitchFamily="34" charset="0"/>
              <a:buChar char="–"/>
              <a:defRPr/>
            </a:lvl5pPr>
            <a:lvl6pPr marL="482204" indent="-96441">
              <a:spcBef>
                <a:spcPts val="127"/>
              </a:spcBef>
              <a:buClrTx/>
              <a:buFont typeface="Arial" panose="020B0604020202020204" pitchFamily="34" charset="0"/>
              <a:buChar char="–"/>
              <a:defRPr/>
            </a:lvl6pPr>
            <a:lvl7pPr marL="578644" indent="-96441">
              <a:spcBef>
                <a:spcPts val="127"/>
              </a:spcBef>
              <a:buClrTx/>
              <a:buFont typeface="Arial" panose="020B0604020202020204" pitchFamily="34" charset="0"/>
              <a:buChar char="–"/>
              <a:defRPr/>
            </a:lvl7pPr>
            <a:lvl8pPr marL="675085" indent="-96441">
              <a:spcBef>
                <a:spcPts val="127"/>
              </a:spcBef>
              <a:buClrTx/>
              <a:buFont typeface="Arial" panose="020B0604020202020204" pitchFamily="34" charset="0"/>
              <a:buChar char="–"/>
              <a:defRPr/>
            </a:lvl8pPr>
            <a:lvl9pPr marL="771525" indent="-96441">
              <a:spcBef>
                <a:spcPts val="127"/>
              </a:spcBef>
              <a:buClrTx/>
              <a:buFont typeface="Arial" panose="020B0604020202020204" pitchFamily="34" charset="0"/>
              <a:buChar char="–"/>
              <a:defRPr/>
            </a:lvl9pPr>
          </a:lstStyle>
          <a:p>
            <a:pPr lvl="0"/>
            <a:r>
              <a:rPr lang="en-US"/>
              <a:t>[Big statement]</a:t>
            </a:r>
          </a:p>
          <a:p>
            <a:pPr lvl="1"/>
            <a:r>
              <a:rPr lang="en-US"/>
              <a:t>[Attribution]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481919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503AFCD-99D5-BA44-9B85-794E757DA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0" y="457200"/>
            <a:ext cx="4114800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DA05FDA-F191-8E4B-9D3F-39F03BD735B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0" y="1737360"/>
            <a:ext cx="4114800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EB70FBD3-3AE3-8D4D-B019-8121AF06E9E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6300" y="0"/>
            <a:ext cx="4457700" cy="685800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422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2731413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orient="horz" pos="1092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hoto - Blue">
    <p:bg>
      <p:bgPr>
        <a:solidFill>
          <a:srgbClr val="170D6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503AFCD-99D5-BA44-9B85-794E757DA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0" y="457200"/>
            <a:ext cx="4114800" cy="914400"/>
          </a:xfrm>
        </p:spPr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DA05FDA-F191-8E4B-9D3F-39F03BD735B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0" y="1737360"/>
            <a:ext cx="4114800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EB70FBD3-3AE3-8D4D-B019-8121AF06E9E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6300" y="0"/>
            <a:ext cx="4457700" cy="6858000"/>
          </a:xfrm>
          <a:solidFill>
            <a:srgbClr val="8B86B3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422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733089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orient="horz" pos="1092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>
            <a:extLst>
              <a:ext uri="{FF2B5EF4-FFF2-40B4-BE49-F238E27FC236}">
                <a16:creationId xmlns:a16="http://schemas.microsoft.com/office/drawing/2014/main" id="{01336BB9-131E-EB4B-8700-C48DD8ACC01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5"/>
            <a:ext cx="9144000" cy="6857997"/>
          </a:xfrm>
          <a:solidFill>
            <a:srgbClr val="DBDBE9"/>
          </a:solidFill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422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023FBAC-1788-B548-9C1F-C059390AD1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 marL="0" marR="0" indent="0" algn="l" defTabSz="28932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[Optional slide title]</a:t>
            </a:r>
          </a:p>
        </p:txBody>
      </p:sp>
    </p:spTree>
    <p:extLst>
      <p:ext uri="{BB962C8B-B14F-4D97-AF65-F5344CB8AC3E}">
        <p14:creationId xmlns:p14="http://schemas.microsoft.com/office/powerpoint/2010/main" val="35883718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67921A-18B5-4EC0-B921-CA27E4A3D6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</p:spTree>
    <p:extLst>
      <p:ext uri="{BB962C8B-B14F-4D97-AF65-F5344CB8AC3E}">
        <p14:creationId xmlns:p14="http://schemas.microsoft.com/office/powerpoint/2010/main" val="1433173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660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gradFill>
          <a:gsLst>
            <a:gs pos="100000">
              <a:srgbClr val="6E06C1"/>
            </a:gs>
            <a:gs pos="65000">
              <a:srgbClr val="170D67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">
            <a:extLst>
              <a:ext uri="{FF2B5EF4-FFF2-40B4-BE49-F238E27FC236}">
                <a16:creationId xmlns:a16="http://schemas.microsoft.com/office/drawing/2014/main" id="{83D0FA9B-FB65-7E4A-94B6-DA461E5FAB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57" t="812" r="28978" b="33971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7" name="PECO" descr="PECO: An Exelon Company">
            <a:extLst>
              <a:ext uri="{FF2B5EF4-FFF2-40B4-BE49-F238E27FC236}">
                <a16:creationId xmlns:a16="http://schemas.microsoft.com/office/drawing/2014/main" id="{05420BBA-8C48-5E4F-8587-7A822AE546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50129" y="203203"/>
            <a:ext cx="2125123" cy="1217041"/>
          </a:xfrm>
          <a:prstGeom prst="rect">
            <a:avLst/>
          </a:prstGeom>
        </p:spPr>
      </p:pic>
      <p:sp>
        <p:nvSpPr>
          <p:cNvPr id="12" name="TextBox">
            <a:extLst>
              <a:ext uri="{FF2B5EF4-FFF2-40B4-BE49-F238E27FC236}">
                <a16:creationId xmlns:a16="http://schemas.microsoft.com/office/drawing/2014/main" id="{EEC090CD-1D8D-EF4F-AFB1-71B75EA35959}"/>
              </a:ext>
            </a:extLst>
          </p:cNvPr>
          <p:cNvSpPr txBox="1"/>
          <p:nvPr userDrawn="1"/>
        </p:nvSpPr>
        <p:spPr>
          <a:xfrm>
            <a:off x="342900" y="2926080"/>
            <a:ext cx="8458200" cy="173736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00000"/>
              <a:buFontTx/>
              <a:buNone/>
            </a:pPr>
            <a:r>
              <a:rPr lang="en-US" sz="2531" b="0">
                <a:solidFill>
                  <a:schemeClr val="tx1"/>
                </a:solidFill>
                <a:latin typeface="+mj-lt"/>
              </a:rPr>
              <a:t>Thank you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79D4DF77-3EF5-EE42-B584-7D896A52588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1" y="5305425"/>
            <a:ext cx="4114800" cy="9144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9pPr>
          </a:lstStyle>
          <a:p>
            <a:pPr lvl="0"/>
            <a:r>
              <a:rPr lang="en-US"/>
              <a:t>[Optional contact information]</a:t>
            </a:r>
          </a:p>
        </p:txBody>
      </p:sp>
    </p:spTree>
    <p:extLst>
      <p:ext uri="{BB962C8B-B14F-4D97-AF65-F5344CB8AC3E}">
        <p14:creationId xmlns:p14="http://schemas.microsoft.com/office/powerpoint/2010/main" val="25971979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25D47C2-4CDB-41A5-B70C-43A0977D9A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8650" y="6336618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escometering.com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4071A1D-1215-4B6C-B056-EB737D2A86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EAC4C4-F0A7-4B61-A827-E4198D07826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0832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Gray">
    <p:bg>
      <p:bgPr>
        <a:solidFill>
          <a:srgbClr val="DBD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>
            <a:extLst>
              <a:ext uri="{FF2B5EF4-FFF2-40B4-BE49-F238E27FC236}">
                <a16:creationId xmlns:a16="http://schemas.microsoft.com/office/drawing/2014/main" id="{BD2F1F44-13AA-9540-AEC8-CCC812D52A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6" name="PECO" descr="PECO: An Exelon Company">
            <a:extLst>
              <a:ext uri="{FF2B5EF4-FFF2-40B4-BE49-F238E27FC236}">
                <a16:creationId xmlns:a16="http://schemas.microsoft.com/office/drawing/2014/main" id="{2A2ABE23-0023-5E46-815D-CCB83CC896A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9" y="203203"/>
            <a:ext cx="2125123" cy="1217041"/>
          </a:xfrm>
          <a:prstGeom prst="rect">
            <a:avLst/>
          </a:prstGeom>
        </p:spPr>
      </p:pic>
      <p:sp>
        <p:nvSpPr>
          <p:cNvPr id="12" name="TextBox">
            <a:extLst>
              <a:ext uri="{FF2B5EF4-FFF2-40B4-BE49-F238E27FC236}">
                <a16:creationId xmlns:a16="http://schemas.microsoft.com/office/drawing/2014/main" id="{EEC090CD-1D8D-EF4F-AFB1-71B75EA35959}"/>
              </a:ext>
            </a:extLst>
          </p:cNvPr>
          <p:cNvSpPr txBox="1"/>
          <p:nvPr userDrawn="1"/>
        </p:nvSpPr>
        <p:spPr>
          <a:xfrm>
            <a:off x="342900" y="2926080"/>
            <a:ext cx="8458200" cy="173736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00000"/>
              <a:buFontTx/>
              <a:buNone/>
            </a:pPr>
            <a:r>
              <a:rPr lang="en-US" sz="2531" b="0">
                <a:solidFill>
                  <a:schemeClr val="tx1"/>
                </a:solidFill>
                <a:latin typeface="+mj-lt"/>
              </a:rPr>
              <a:t>Thank you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79D4DF77-3EF5-EE42-B584-7D896A52588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1" y="5305425"/>
            <a:ext cx="4114800" cy="9144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9pPr>
          </a:lstStyle>
          <a:p>
            <a:pPr lvl="0"/>
            <a:r>
              <a:rPr lang="en-US"/>
              <a:t>[Optional contact information]</a:t>
            </a:r>
          </a:p>
        </p:txBody>
      </p:sp>
    </p:spTree>
    <p:extLst>
      <p:ext uri="{BB962C8B-B14F-4D97-AF65-F5344CB8AC3E}">
        <p14:creationId xmlns:p14="http://schemas.microsoft.com/office/powerpoint/2010/main" val="35391148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>
            <a:extLst>
              <a:ext uri="{FF2B5EF4-FFF2-40B4-BE49-F238E27FC236}">
                <a16:creationId xmlns:a16="http://schemas.microsoft.com/office/drawing/2014/main" id="{CABF1D01-D617-5B4C-B94C-F3F2184C09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6" name="PECO" descr="PECO: An Exelon Company">
            <a:extLst>
              <a:ext uri="{FF2B5EF4-FFF2-40B4-BE49-F238E27FC236}">
                <a16:creationId xmlns:a16="http://schemas.microsoft.com/office/drawing/2014/main" id="{441E47AC-C454-DA45-9BA6-40C0EC0C59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9" y="203203"/>
            <a:ext cx="2125123" cy="1217041"/>
          </a:xfrm>
          <a:prstGeom prst="rect">
            <a:avLst/>
          </a:prstGeom>
        </p:spPr>
      </p:pic>
      <p:sp>
        <p:nvSpPr>
          <p:cNvPr id="12" name="TextBox">
            <a:extLst>
              <a:ext uri="{FF2B5EF4-FFF2-40B4-BE49-F238E27FC236}">
                <a16:creationId xmlns:a16="http://schemas.microsoft.com/office/drawing/2014/main" id="{EEC090CD-1D8D-EF4F-AFB1-71B75EA35959}"/>
              </a:ext>
            </a:extLst>
          </p:cNvPr>
          <p:cNvSpPr txBox="1"/>
          <p:nvPr userDrawn="1"/>
        </p:nvSpPr>
        <p:spPr>
          <a:xfrm>
            <a:off x="342900" y="2926080"/>
            <a:ext cx="8458200" cy="173736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00000"/>
              <a:buFontTx/>
              <a:buNone/>
            </a:pPr>
            <a:r>
              <a:rPr lang="en-US" sz="2531" b="0">
                <a:solidFill>
                  <a:schemeClr val="tx1"/>
                </a:solidFill>
                <a:latin typeface="+mj-lt"/>
              </a:rPr>
              <a:t>Thank you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79D4DF77-3EF5-EE42-B584-7D896A52588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1" y="5305425"/>
            <a:ext cx="4114800" cy="9144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9pPr>
          </a:lstStyle>
          <a:p>
            <a:pPr lvl="0"/>
            <a:r>
              <a:rPr lang="en-US"/>
              <a:t>[Optional contact information]</a:t>
            </a:r>
          </a:p>
        </p:txBody>
      </p:sp>
    </p:spTree>
    <p:extLst>
      <p:ext uri="{BB962C8B-B14F-4D97-AF65-F5344CB8AC3E}">
        <p14:creationId xmlns:p14="http://schemas.microsoft.com/office/powerpoint/2010/main" val="787985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bg>
      <p:bgPr>
        <a:gradFill>
          <a:gsLst>
            <a:gs pos="65000">
              <a:srgbClr val="170D67"/>
            </a:gs>
            <a:gs pos="100000">
              <a:srgbClr val="6E06C1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ECO" descr="PECO: An Exelon Company">
            <a:extLst>
              <a:ext uri="{FF2B5EF4-FFF2-40B4-BE49-F238E27FC236}">
                <a16:creationId xmlns:a16="http://schemas.microsoft.com/office/drawing/2014/main" id="{DA6E9EFB-9A4A-4845-8C41-FFE5AE5B79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700213" y="1784350"/>
            <a:ext cx="5743575" cy="328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4014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- Gray">
    <p:bg>
      <p:bgPr>
        <a:solidFill>
          <a:srgbClr val="DBD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ECO" descr="PECO: An Exelon Company">
            <a:extLst>
              <a:ext uri="{FF2B5EF4-FFF2-40B4-BE49-F238E27FC236}">
                <a16:creationId xmlns:a16="http://schemas.microsoft.com/office/drawing/2014/main" id="{8EADD1EA-08FE-BD43-89F4-1D6C443688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700213" y="1784350"/>
            <a:ext cx="5743575" cy="328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3859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ECO" descr="PECO: An Exelon Company">
            <a:extLst>
              <a:ext uri="{FF2B5EF4-FFF2-40B4-BE49-F238E27FC236}">
                <a16:creationId xmlns:a16="http://schemas.microsoft.com/office/drawing/2014/main" id="{00346728-1559-3141-8647-7C1E20A3C4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700213" y="1784350"/>
            <a:ext cx="5743575" cy="328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7846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>
              <a:solidFill>
                <a:srgbClr val="FFFFFF"/>
              </a:solidFill>
            </a:endParaRPr>
          </a:p>
          <a:p>
            <a:fld id="{FC69E179-F7B6-48F5-8B0A-D52D6F858F4E}" type="slidenum">
              <a:rPr lang="en-US" altLang="en-US">
                <a:solidFill>
                  <a:srgbClr val="FFFFFF"/>
                </a:solidFill>
              </a:rPr>
              <a:pPr/>
              <a:t>‹#›</a:t>
            </a:fld>
            <a:endParaRPr lang="en-US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288219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Wave B">
            <a:extLst>
              <a:ext uri="{FF2B5EF4-FFF2-40B4-BE49-F238E27FC236}">
                <a16:creationId xmlns:a16="http://schemas.microsoft.com/office/drawing/2014/main" id="{A7540869-CE57-4B4D-9F99-4AD8477D1D9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30678" y="64545"/>
            <a:ext cx="9144000" cy="6851904"/>
          </a:xfrm>
          <a:prstGeom prst="rect">
            <a:avLst/>
          </a:prstGeom>
        </p:spPr>
      </p:pic>
      <p:pic>
        <p:nvPicPr>
          <p:cNvPr id="8" name="PECO" descr="PECO: An Exelon Company">
            <a:extLst>
              <a:ext uri="{FF2B5EF4-FFF2-40B4-BE49-F238E27FC236}">
                <a16:creationId xmlns:a16="http://schemas.microsoft.com/office/drawing/2014/main" id="{E2D840D5-C210-D54F-ACD0-BAB6B0E635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9" y="203203"/>
            <a:ext cx="2125123" cy="1217041"/>
          </a:xfrm>
          <a:prstGeom prst="rect">
            <a:avLst/>
          </a:prstGeom>
        </p:spPr>
      </p:pic>
      <p:sp>
        <p:nvSpPr>
          <p:cNvPr id="12" name="Date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8677" y="2286000"/>
            <a:ext cx="3629025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76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28676" y="2926080"/>
            <a:ext cx="7972425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2531" b="0">
                <a:solidFill>
                  <a:schemeClr val="tx2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28676" y="4846320"/>
            <a:ext cx="7972425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844" b="0">
                <a:solidFill>
                  <a:schemeClr val="accent2"/>
                </a:solidFill>
                <a:latin typeface="+mn-lt"/>
              </a:defRPr>
            </a:lvl9pPr>
          </a:lstStyle>
          <a:p>
            <a:r>
              <a:rPr lang="en-US"/>
              <a:t>[Business Unit | Presenter Name]</a:t>
            </a:r>
          </a:p>
        </p:txBody>
      </p:sp>
    </p:spTree>
    <p:extLst>
      <p:ext uri="{BB962C8B-B14F-4D97-AF65-F5344CB8AC3E}">
        <p14:creationId xmlns:p14="http://schemas.microsoft.com/office/powerpoint/2010/main" val="23130321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928">
          <p15:clr>
            <a:srgbClr val="5ACBF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divider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Wave B">
            <a:extLst>
              <a:ext uri="{FF2B5EF4-FFF2-40B4-BE49-F238E27FC236}">
                <a16:creationId xmlns:a16="http://schemas.microsoft.com/office/drawing/2014/main" id="{98D60DC9-2DF2-8D42-8009-6A76D2C512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048"/>
            <a:ext cx="9144000" cy="6851904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69251E-620F-6C4B-ADAE-91975A3F59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9A0B88-BF49-0446-AB6C-EDFF5613CB1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Number">
            <a:extLst>
              <a:ext uri="{FF2B5EF4-FFF2-40B4-BE49-F238E27FC236}">
                <a16:creationId xmlns:a16="http://schemas.microsoft.com/office/drawing/2014/main" id="{055B0C33-1FF8-8D45-92A3-4C74289F1F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ltGray">
          <a:xfrm>
            <a:off x="340522" y="454024"/>
            <a:ext cx="2669381" cy="1371600"/>
          </a:xfrm>
        </p:spPr>
        <p:txBody>
          <a:bodyPr wrap="none" tIns="45720" rIns="0" bIns="0" anchor="t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2pPr>
            <a:lvl3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3pPr>
            <a:lvl4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4pPr>
            <a:lvl5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5pPr>
            <a:lvl6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6pPr>
            <a:lvl7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7pPr>
            <a:lvl8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8pPr>
            <a:lvl9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4050" b="0" spc="0" baseline="0">
                <a:solidFill>
                  <a:srgbClr val="8B86B3"/>
                </a:solidFill>
                <a:latin typeface="+mj-lt"/>
              </a:defRPr>
            </a:lvl9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641D334-3DBF-4D13-804B-67B29A3D48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4" y="2895600"/>
            <a:ext cx="8458199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2531" b="0">
                <a:solidFill>
                  <a:schemeClr val="tx1"/>
                </a:solidFill>
              </a:defRPr>
            </a:lvl1pPr>
          </a:lstStyle>
          <a:p>
            <a:r>
              <a:rPr lang="en-US"/>
              <a:t>[Section divider title]</a:t>
            </a:r>
          </a:p>
        </p:txBody>
      </p:sp>
    </p:spTree>
    <p:extLst>
      <p:ext uri="{BB962C8B-B14F-4D97-AF65-F5344CB8AC3E}">
        <p14:creationId xmlns:p14="http://schemas.microsoft.com/office/powerpoint/2010/main" val="25328321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824">
          <p15:clr>
            <a:srgbClr val="5ACBF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alf picture 2">
    <p:bg>
      <p:bgPr>
        <a:solidFill>
          <a:srgbClr val="170D6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Wordmark">
            <a:extLst>
              <a:ext uri="{FF2B5EF4-FFF2-40B4-BE49-F238E27FC236}">
                <a16:creationId xmlns:a16="http://schemas.microsoft.com/office/drawing/2014/main" id="{A9DFAFD2-FD4D-CB4B-80FC-BDC9641BEB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2901" y="6525995"/>
            <a:ext cx="293042" cy="141504"/>
          </a:xfrm>
          <a:prstGeom prst="rect">
            <a:avLst/>
          </a:prstGeom>
        </p:spPr>
      </p:pic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EB70FBD3-3AE3-8D4D-B019-8121AF06E9E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686302" y="0"/>
            <a:ext cx="4468251" cy="6858000"/>
          </a:xfrm>
          <a:solidFill>
            <a:schemeClr val="tx1">
              <a:lumMod val="85000"/>
            </a:schemeClr>
          </a:solidFill>
        </p:spPr>
        <p:txBody>
          <a:bodyPr anchor="t" anchorCtr="0"/>
          <a:lstStyle>
            <a:lvl1pPr marL="0" marR="0" indent="0" algn="l" defTabSz="289322" rtl="0" eaLnBrk="1" fontAlgn="auto" latinLnBrk="0" hangingPunct="1">
              <a:lnSpc>
                <a:spcPct val="110000"/>
              </a:lnSpc>
              <a:spcBef>
                <a:spcPts val="50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422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marL="0" marR="0" lvl="0" indent="0" algn="l" defTabSz="289322" rtl="0" eaLnBrk="1" fontAlgn="auto" latinLnBrk="0" hangingPunct="1">
              <a:lnSpc>
                <a:spcPct val="110000"/>
              </a:lnSpc>
              <a:spcBef>
                <a:spcPts val="506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picture; </a:t>
            </a:r>
            <a:br>
              <a:rPr lang="en-US"/>
            </a:br>
            <a:r>
              <a:rPr lang="en-US"/>
              <a:t>Disclaimer and slide number should sit on top of picture</a:t>
            </a:r>
          </a:p>
        </p:txBody>
      </p:sp>
      <p:sp>
        <p:nvSpPr>
          <p:cNvPr id="9" name="Disclaimer">
            <a:extLst>
              <a:ext uri="{FF2B5EF4-FFF2-40B4-BE49-F238E27FC236}">
                <a16:creationId xmlns:a16="http://schemas.microsoft.com/office/drawing/2014/main" id="{05847C2B-C773-6F49-A130-F64A10B7E65D}"/>
              </a:ext>
            </a:extLst>
          </p:cNvPr>
          <p:cNvSpPr txBox="1"/>
          <p:nvPr userDrawn="1"/>
        </p:nvSpPr>
        <p:spPr>
          <a:xfrm>
            <a:off x="6531769" y="6426200"/>
            <a:ext cx="1920240" cy="2286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r">
              <a:lnSpc>
                <a:spcPct val="100000"/>
              </a:lnSpc>
              <a:spcBef>
                <a:spcPts val="0"/>
              </a:spcBef>
              <a:buSzPct val="100000"/>
            </a:pPr>
            <a:r>
              <a:rPr lang="en-US" sz="338"/>
              <a:t>Confidential Information – For Internal Use Onl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64080C9-A26B-DA4D-949D-C7DC3F0FAC9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19A0B88-BF49-0446-AB6C-EDFF5613CB1A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503AFCD-99D5-BA44-9B85-794E757DA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0" y="457200"/>
            <a:ext cx="4114800" cy="914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[Slide title]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DA05FDA-F191-8E4B-9D3F-39F03BD735B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0" y="1714500"/>
            <a:ext cx="411480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747499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orient="horz" pos="1080">
          <p15:clr>
            <a:srgbClr val="5ACBF0"/>
          </p15:clr>
        </p15:guide>
        <p15:guide id="5" orient="horz" pos="3912">
          <p15:clr>
            <a:srgbClr val="5ACBF0"/>
          </p15:clr>
        </p15:guide>
        <p15:guide id="6" pos="5248">
          <p15:clr>
            <a:srgbClr val="5ACBF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/>
          </p:nvPr>
        </p:nvSpPr>
        <p:spPr>
          <a:xfrm>
            <a:off x="363538" y="903514"/>
            <a:ext cx="8412162" cy="54083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95875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97592" y="329991"/>
            <a:ext cx="7146323" cy="5186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84CC7AF6-FE01-498E-8EC4-10C598268D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28650" y="6336618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escometering.com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3613EE7B-FBE8-4FED-A3B3-2D98DB69961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EAC4C4-F0A7-4B61-A827-E4198D07826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349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26165"/>
            <a:ext cx="9144000" cy="367748"/>
          </a:xfrm>
          <a:prstGeom prst="rect">
            <a:avLst/>
          </a:prstGeom>
          <a:solidFill>
            <a:srgbClr val="FFFFFF"/>
          </a:solidFill>
        </p:spPr>
        <p:txBody>
          <a:bodyPr rot="0" spcFirstLastPara="0" vertOverflow="overflow" horzOverflow="overflow" vert="horz" wrap="square" lIns="38576" tIns="19289" rIns="38576" bIns="19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76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3538" y="1211263"/>
            <a:ext cx="8412162" cy="498784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divider</a:t>
            </a:r>
          </a:p>
        </p:txBody>
      </p:sp>
    </p:spTree>
    <p:extLst>
      <p:ext uri="{BB962C8B-B14F-4D97-AF65-F5344CB8AC3E}">
        <p14:creationId xmlns:p14="http://schemas.microsoft.com/office/powerpoint/2010/main" val="66882514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srgbClr val="FFFFFF"/>
              </a:solidFill>
            </a:endParaRPr>
          </a:p>
          <a:p>
            <a:pPr>
              <a:defRPr/>
            </a:pPr>
            <a:fld id="{DBAC7E42-B540-4B4A-B8FB-1C46B945BBC7}" type="slidenum">
              <a:rPr lang="en-US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9140688"/>
      </p:ext>
    </p:extLst>
  </p:cSld>
  <p:clrMapOvr>
    <a:masterClrMapping/>
  </p:clrMapOvr>
  <p:transition>
    <p:cover dir="r"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2174" y="570261"/>
            <a:ext cx="7069034" cy="3442130"/>
          </a:xfrm>
        </p:spPr>
        <p:txBody>
          <a:bodyPr anchor="b">
            <a:noAutofit/>
          </a:bodyPr>
          <a:lstStyle>
            <a:lvl1pPr>
              <a:defRPr sz="66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6609" y="4566676"/>
            <a:ext cx="6323978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85CCE1F-5BFE-436E-A352-A0224124D78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42018" y="6356352"/>
            <a:ext cx="29707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escometering.com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A8CE0CA-7507-423A-8995-E96F69FD8A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EAC4C4-F0A7-4B61-A827-E4198D07826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78CC3A4-B862-EF21-7892-19E165FA85F9}"/>
              </a:ext>
            </a:extLst>
          </p:cNvPr>
          <p:cNvSpPr/>
          <p:nvPr userDrawn="1"/>
        </p:nvSpPr>
        <p:spPr>
          <a:xfrm>
            <a:off x="1504951" y="723016"/>
            <a:ext cx="7468929" cy="3651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6" name="Picture 5" descr="A building with a tower&#10;&#10;Description automatically generated">
            <a:extLst>
              <a:ext uri="{FF2B5EF4-FFF2-40B4-BE49-F238E27FC236}">
                <a16:creationId xmlns:a16="http://schemas.microsoft.com/office/drawing/2014/main" id="{5BFA177E-4D12-6311-2BA3-00768C94FD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63253" y="0"/>
            <a:ext cx="2335427" cy="6858000"/>
          </a:xfrm>
          <a:prstGeom prst="rect">
            <a:avLst/>
          </a:prstGeom>
        </p:spPr>
      </p:pic>
      <p:pic>
        <p:nvPicPr>
          <p:cNvPr id="9" name="Picture 8" descr="A red and black logo&#10;&#10;Description automatically generated">
            <a:extLst>
              <a:ext uri="{FF2B5EF4-FFF2-40B4-BE49-F238E27FC236}">
                <a16:creationId xmlns:a16="http://schemas.microsoft.com/office/drawing/2014/main" id="{12952CE3-364E-1AF8-155D-3DAF073B6BC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1000" y="228600"/>
            <a:ext cx="2329391" cy="14210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4866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gradFill>
          <a:gsLst>
            <a:gs pos="100000">
              <a:srgbClr val="6E06C1"/>
            </a:gs>
            <a:gs pos="65000">
              <a:srgbClr val="170D67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">
            <a:extLst>
              <a:ext uri="{FF2B5EF4-FFF2-40B4-BE49-F238E27FC236}">
                <a16:creationId xmlns:a16="http://schemas.microsoft.com/office/drawing/2014/main" id="{350772A3-E462-9C4A-9452-404AE4ACB8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57" t="812" r="28978" b="33971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9" name="PECO" descr="PECO: An Exelon Company">
            <a:extLst>
              <a:ext uri="{FF2B5EF4-FFF2-40B4-BE49-F238E27FC236}">
                <a16:creationId xmlns:a16="http://schemas.microsoft.com/office/drawing/2014/main" id="{EABD70D4-68D7-0C45-A49B-5ECE9926710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50126" y="203197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8458200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5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4846320"/>
            <a:ext cx="84582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4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4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4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4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4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4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4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4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4"/>
                </a:solidFill>
                <a:latin typeface="+mn-lt"/>
              </a:defRPr>
            </a:lvl9pPr>
          </a:lstStyle>
          <a:p>
            <a:r>
              <a:rPr lang="en-US" dirty="0"/>
              <a:t>[Business Unit | Presenter Name]</a:t>
            </a:r>
          </a:p>
        </p:txBody>
      </p:sp>
    </p:spTree>
    <p:extLst>
      <p:ext uri="{BB962C8B-B14F-4D97-AF65-F5344CB8AC3E}">
        <p14:creationId xmlns:p14="http://schemas.microsoft.com/office/powerpoint/2010/main" val="32271730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ay">
    <p:bg>
      <p:bgPr>
        <a:solidFill>
          <a:srgbClr val="DBD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">
            <a:extLst>
              <a:ext uri="{FF2B5EF4-FFF2-40B4-BE49-F238E27FC236}">
                <a16:creationId xmlns:a16="http://schemas.microsoft.com/office/drawing/2014/main" id="{398504CC-7A82-FB4C-A4B1-3D8E3DAA21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10" name="PECO" descr="PECO: An Exelon Company">
            <a:extLst>
              <a:ext uri="{FF2B5EF4-FFF2-40B4-BE49-F238E27FC236}">
                <a16:creationId xmlns:a16="http://schemas.microsoft.com/office/drawing/2014/main" id="{B0E25EAB-0119-8448-BC02-9964B93EDA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6" y="203197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8458200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5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4846320"/>
            <a:ext cx="84582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9pPr>
          </a:lstStyle>
          <a:p>
            <a:r>
              <a:rPr lang="en-US" dirty="0"/>
              <a:t>[Business Unit | Presenter Name]</a:t>
            </a:r>
          </a:p>
        </p:txBody>
      </p:sp>
    </p:spTree>
    <p:extLst>
      <p:ext uri="{BB962C8B-B14F-4D97-AF65-F5344CB8AC3E}">
        <p14:creationId xmlns:p14="http://schemas.microsoft.com/office/powerpoint/2010/main" val="35341178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">
            <a:extLst>
              <a:ext uri="{FF2B5EF4-FFF2-40B4-BE49-F238E27FC236}">
                <a16:creationId xmlns:a16="http://schemas.microsoft.com/office/drawing/2014/main" id="{CC994166-3B1A-384C-BF72-C2F43D019E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7" name="PECO" descr="PECO: An Exelon Company">
            <a:extLst>
              <a:ext uri="{FF2B5EF4-FFF2-40B4-BE49-F238E27FC236}">
                <a16:creationId xmlns:a16="http://schemas.microsoft.com/office/drawing/2014/main" id="{0337147C-8E55-D348-B558-D94AB4A9E8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6" y="203197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8458200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5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4846320"/>
            <a:ext cx="84582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9pPr>
          </a:lstStyle>
          <a:p>
            <a:r>
              <a:rPr lang="en-US" dirty="0"/>
              <a:t>[Business Unit | Presenter Name]</a:t>
            </a:r>
          </a:p>
        </p:txBody>
      </p:sp>
    </p:spTree>
    <p:extLst>
      <p:ext uri="{BB962C8B-B14F-4D97-AF65-F5344CB8AC3E}">
        <p14:creationId xmlns:p14="http://schemas.microsoft.com/office/powerpoint/2010/main" val="40969794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Full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ECO" descr="PECO: An Exelon Company">
            <a:extLst>
              <a:ext uri="{FF2B5EF4-FFF2-40B4-BE49-F238E27FC236}">
                <a16:creationId xmlns:a16="http://schemas.microsoft.com/office/drawing/2014/main" id="{D3FFAE08-AF81-7940-BB58-65CD3319B1A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50126" y="203197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8458200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5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4846320"/>
            <a:ext cx="84582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 dirty="0"/>
              <a:t>[Business Unit | Presenter Name]</a:t>
            </a:r>
          </a:p>
        </p:txBody>
      </p:sp>
    </p:spTree>
    <p:extLst>
      <p:ext uri="{BB962C8B-B14F-4D97-AF65-F5344CB8AC3E}">
        <p14:creationId xmlns:p14="http://schemas.microsoft.com/office/powerpoint/2010/main" val="39800195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Half Photo">
    <p:bg>
      <p:bgPr>
        <a:gradFill>
          <a:gsLst>
            <a:gs pos="100000">
              <a:srgbClr val="6E06C1"/>
            </a:gs>
            <a:gs pos="65000">
              <a:srgbClr val="170D67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ECO" descr="PECO: An Exelon Company">
            <a:extLst>
              <a:ext uri="{FF2B5EF4-FFF2-40B4-BE49-F238E27FC236}">
                <a16:creationId xmlns:a16="http://schemas.microsoft.com/office/drawing/2014/main" id="{B950E78D-63B6-0549-BC3F-812F4C4877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50126" y="203197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4114800" cy="246888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5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5669280"/>
            <a:ext cx="41148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dirty="0"/>
              <a:t>[Business Unit | Presenter Name]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98FF03FD-D721-FE49-9958-D1D94DE75B8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6300" y="0"/>
            <a:ext cx="4457700" cy="6858000"/>
          </a:xfrm>
          <a:solidFill>
            <a:srgbClr val="8B86B3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77289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Half Photo - Gray">
    <p:bg>
      <p:bgPr>
        <a:solidFill>
          <a:srgbClr val="DBD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ECO" descr="PECO: An Exelon Company">
            <a:extLst>
              <a:ext uri="{FF2B5EF4-FFF2-40B4-BE49-F238E27FC236}">
                <a16:creationId xmlns:a16="http://schemas.microsoft.com/office/drawing/2014/main" id="{D5CD640B-AC26-B142-8006-813CBDFF63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6" y="203197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4114800" cy="246888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5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5669280"/>
            <a:ext cx="41148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9pPr>
          </a:lstStyle>
          <a:p>
            <a:r>
              <a:rPr lang="en-US" dirty="0"/>
              <a:t>[Business Unit | Presenter Name]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98FF03FD-D721-FE49-9958-D1D94DE75B8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6300" y="0"/>
            <a:ext cx="4457700" cy="6858000"/>
          </a:xfrm>
          <a:solidFill>
            <a:srgbClr val="8B86B3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4694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Half Photo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ECO" descr="PECO: An Exelon Company">
            <a:extLst>
              <a:ext uri="{FF2B5EF4-FFF2-40B4-BE49-F238E27FC236}">
                <a16:creationId xmlns:a16="http://schemas.microsoft.com/office/drawing/2014/main" id="{978A3E00-AD7C-BD48-9BF7-B043332D2B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6" y="203197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4114800" cy="246888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5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5669280"/>
            <a:ext cx="41148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9pPr>
          </a:lstStyle>
          <a:p>
            <a:r>
              <a:rPr lang="en-US" dirty="0"/>
              <a:t>[Business Unit | Presenter Name]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98FF03FD-D721-FE49-9958-D1D94DE75B8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6300" y="0"/>
            <a:ext cx="4457700" cy="685800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29072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6951" y="136526"/>
            <a:ext cx="7221289" cy="81082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8343AB8-FDC8-4BDD-9F5D-8F5008EE59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8650" y="6336618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escometering.com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7B76846-C3D9-46DA-9875-A8C9D81A3F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EAC4C4-F0A7-4B61-A827-E4198D07826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5720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B5CCE3BE-287D-5C40-8E88-33DE08CE2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E9F1870-3C4F-E343-9315-9272E669690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42900" y="1737360"/>
            <a:ext cx="7012781" cy="4480560"/>
          </a:xfrm>
        </p:spPr>
        <p:txBody>
          <a:bodyPr/>
          <a:lstStyle>
            <a:lvl1pPr marL="342900" indent="-342900">
              <a:buFont typeface="+mj-lt"/>
              <a:buAutoNum type="arabicPeriod"/>
              <a:defRPr sz="1800"/>
            </a:lvl1pPr>
            <a:lvl2pPr marL="514350" indent="-171450">
              <a:buFont typeface="Arial" panose="020B0604020202020204" pitchFamily="34" charset="0"/>
              <a:buChar char="–"/>
              <a:defRPr sz="1200"/>
            </a:lvl2pPr>
            <a:lvl3pPr marL="685800" indent="-171450">
              <a:buFont typeface="Arial" panose="020B0604020202020204" pitchFamily="34" charset="0"/>
              <a:buChar char="–"/>
              <a:defRPr sz="1200"/>
            </a:lvl3pPr>
            <a:lvl4pPr marL="857250" indent="-171450">
              <a:buFont typeface="Arial" panose="020B0604020202020204" pitchFamily="34" charset="0"/>
              <a:buChar char="–"/>
              <a:defRPr sz="1200"/>
            </a:lvl4pPr>
            <a:lvl5pPr marL="1028700" indent="-171450">
              <a:buFont typeface="Arial" panose="020B0604020202020204" pitchFamily="34" charset="0"/>
              <a:buChar char="–"/>
              <a:defRPr sz="1200"/>
            </a:lvl5pPr>
            <a:lvl6pPr marL="1200150" indent="-171450">
              <a:buFont typeface="Arial" panose="020B0604020202020204" pitchFamily="34" charset="0"/>
              <a:buChar char="–"/>
              <a:defRPr sz="1200"/>
            </a:lvl6pPr>
            <a:lvl7pPr marL="1371600" indent="-171450">
              <a:buFont typeface="Arial" panose="020B0604020202020204" pitchFamily="34" charset="0"/>
              <a:buChar char="–"/>
              <a:defRPr sz="1200"/>
            </a:lvl7pPr>
            <a:lvl8pPr marL="1543050" indent="-171450">
              <a:buFont typeface="Arial" panose="020B0604020202020204" pitchFamily="34" charset="0"/>
              <a:buChar char="–"/>
              <a:defRPr sz="1200"/>
            </a:lvl8pPr>
            <a:lvl9pPr marL="1714500" indent="-171450">
              <a:buFont typeface="Arial" panose="020B0604020202020204" pitchFamily="34" charset="0"/>
              <a:buChar char="–"/>
              <a:defRPr sz="1200"/>
            </a:lvl9pPr>
          </a:lstStyle>
          <a:p>
            <a:pPr lvl="0"/>
            <a:r>
              <a:rPr lang="en-US" dirty="0"/>
              <a:t>[Agenda item]</a:t>
            </a:r>
          </a:p>
          <a:p>
            <a:pPr lvl="1"/>
            <a:r>
              <a:rPr lang="en-US" dirty="0"/>
              <a:t>[Agenda sub-item]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7501353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6" orient="horz" pos="1092">
          <p15:clr>
            <a:srgbClr val="A4A3A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gradFill>
          <a:gsLst>
            <a:gs pos="100000">
              <a:srgbClr val="6E06C1"/>
            </a:gs>
            <a:gs pos="65000">
              <a:srgbClr val="170D67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">
            <a:extLst>
              <a:ext uri="{FF2B5EF4-FFF2-40B4-BE49-F238E27FC236}">
                <a16:creationId xmlns:a16="http://schemas.microsoft.com/office/drawing/2014/main" id="{B078EA1A-886B-D948-BAAC-EBBBB34BC5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57" t="812" r="28978" b="33971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55B0C33-1FF8-8D45-92A3-4C74289F1F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ltGray">
          <a:xfrm>
            <a:off x="340519" y="454024"/>
            <a:ext cx="2669381" cy="1371600"/>
          </a:xfrm>
        </p:spPr>
        <p:txBody>
          <a:bodyPr wrap="none" tIns="45720" rIns="0" bIns="0" anchor="t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2pPr>
            <a:lvl3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3pPr>
            <a:lvl4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4pPr>
            <a:lvl5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5pPr>
            <a:lvl6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6pPr>
            <a:lvl7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7pPr>
            <a:lvl8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8pPr>
            <a:lvl9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641D334-3DBF-4D13-804B-67B29A3D48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519" y="2926080"/>
            <a:ext cx="8460581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5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ection header title]</a:t>
            </a:r>
          </a:p>
        </p:txBody>
      </p:sp>
    </p:spTree>
    <p:extLst>
      <p:ext uri="{BB962C8B-B14F-4D97-AF65-F5344CB8AC3E}">
        <p14:creationId xmlns:p14="http://schemas.microsoft.com/office/powerpoint/2010/main" val="25861031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Gray">
    <p:bg>
      <p:bgPr>
        <a:solidFill>
          <a:srgbClr val="DBD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">
            <a:extLst>
              <a:ext uri="{FF2B5EF4-FFF2-40B4-BE49-F238E27FC236}">
                <a16:creationId xmlns:a16="http://schemas.microsoft.com/office/drawing/2014/main" id="{EC80D5FA-D7D6-344C-8305-FC61A0FD9D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55B0C33-1FF8-8D45-92A3-4C74289F1F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ltGray">
          <a:xfrm>
            <a:off x="340519" y="454024"/>
            <a:ext cx="2669381" cy="1371600"/>
          </a:xfrm>
        </p:spPr>
        <p:txBody>
          <a:bodyPr wrap="none" tIns="45720" rIns="0" bIns="0" anchor="t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2pPr>
            <a:lvl3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3pPr>
            <a:lvl4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4pPr>
            <a:lvl5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5pPr>
            <a:lvl6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6pPr>
            <a:lvl7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7pPr>
            <a:lvl8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8pPr>
            <a:lvl9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641D334-3DBF-4D13-804B-67B29A3D48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519" y="2926080"/>
            <a:ext cx="8460581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5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ection header title]</a:t>
            </a:r>
          </a:p>
        </p:txBody>
      </p:sp>
    </p:spTree>
    <p:extLst>
      <p:ext uri="{BB962C8B-B14F-4D97-AF65-F5344CB8AC3E}">
        <p14:creationId xmlns:p14="http://schemas.microsoft.com/office/powerpoint/2010/main" val="25171433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">
            <a:extLst>
              <a:ext uri="{FF2B5EF4-FFF2-40B4-BE49-F238E27FC236}">
                <a16:creationId xmlns:a16="http://schemas.microsoft.com/office/drawing/2014/main" id="{93E71FEF-77B6-5241-81B1-D0D833923F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55B0C33-1FF8-8D45-92A3-4C74289F1F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ltGray">
          <a:xfrm>
            <a:off x="340519" y="454024"/>
            <a:ext cx="2669381" cy="1371600"/>
          </a:xfrm>
        </p:spPr>
        <p:txBody>
          <a:bodyPr wrap="none" tIns="45720" rIns="0" bIns="0" anchor="t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2pPr>
            <a:lvl3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3pPr>
            <a:lvl4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4pPr>
            <a:lvl5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5pPr>
            <a:lvl6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6pPr>
            <a:lvl7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7pPr>
            <a:lvl8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8pPr>
            <a:lvl9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641D334-3DBF-4D13-804B-67B29A3D48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519" y="2926080"/>
            <a:ext cx="8460581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5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ection header title]</a:t>
            </a:r>
          </a:p>
        </p:txBody>
      </p:sp>
    </p:spTree>
    <p:extLst>
      <p:ext uri="{BB962C8B-B14F-4D97-AF65-F5344CB8AC3E}">
        <p14:creationId xmlns:p14="http://schemas.microsoft.com/office/powerpoint/2010/main" val="38541879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Intr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41D334-3DBF-4D13-804B-67B29A3D48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519" y="1737358"/>
            <a:ext cx="5567363" cy="18288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peaker intro subject title]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1B685121-0D7D-4F48-835F-6C4245E490B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0518" y="3931920"/>
            <a:ext cx="5567363" cy="91440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350" b="1"/>
            </a:lvl1pPr>
            <a:lvl2pPr marL="0" indent="0">
              <a:spcBef>
                <a:spcPts val="0"/>
              </a:spcBef>
              <a:buFontTx/>
              <a:buNone/>
              <a:defRPr sz="1350"/>
            </a:lvl2pPr>
            <a:lvl3pPr marL="171450" indent="-171450">
              <a:spcBef>
                <a:spcPts val="900"/>
              </a:spcBef>
              <a:buFont typeface="Arial" panose="020B0604020202020204" pitchFamily="34" charset="0"/>
              <a:buChar char="•"/>
              <a:defRPr/>
            </a:lvl3pPr>
            <a:lvl4pPr marL="342900">
              <a:defRPr/>
            </a:lvl4pPr>
            <a:lvl5pPr marL="514350" indent="-171450">
              <a:buFont typeface="Arial" panose="020B0604020202020204" pitchFamily="34" charset="0"/>
              <a:buChar char="»"/>
              <a:defRPr/>
            </a:lvl5pPr>
            <a:lvl6pPr marL="685800" indent="-171450">
              <a:buFont typeface="Arial" panose="020B0604020202020204" pitchFamily="34" charset="0"/>
              <a:buChar char="–"/>
              <a:defRPr/>
            </a:lvl6pPr>
            <a:lvl7pPr marL="857250" indent="-171450">
              <a:buFont typeface="Arial" panose="020B0604020202020204" pitchFamily="34" charset="0"/>
              <a:buChar char="–"/>
              <a:defRPr/>
            </a:lvl7pPr>
            <a:lvl8pPr marL="1028700" indent="-171450">
              <a:buFont typeface="Arial" panose="020B0604020202020204" pitchFamily="34" charset="0"/>
              <a:buChar char="–"/>
              <a:defRPr/>
            </a:lvl8pPr>
            <a:lvl9pPr marL="1200150" indent="-171450">
              <a:buFont typeface="Arial" panose="020B0604020202020204" pitchFamily="34" charset="0"/>
              <a:buChar char="–"/>
              <a:defRPr/>
            </a:lvl9pPr>
          </a:lstStyle>
          <a:p>
            <a:pPr lvl="0"/>
            <a:r>
              <a:rPr lang="en-US" dirty="0"/>
              <a:t>[Speaker Name]</a:t>
            </a:r>
          </a:p>
          <a:p>
            <a:pPr lvl="1"/>
            <a:r>
              <a:rPr lang="en-US" dirty="0"/>
              <a:t>[Speaker Title]</a:t>
            </a:r>
          </a:p>
        </p:txBody>
      </p:sp>
    </p:spTree>
    <p:extLst>
      <p:ext uri="{BB962C8B-B14F-4D97-AF65-F5344CB8AC3E}">
        <p14:creationId xmlns:p14="http://schemas.microsoft.com/office/powerpoint/2010/main" val="6414122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F331AC2-8E74-B243-8FDB-48E8D9AFE7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847E393-D3B7-8747-BD90-FFF722B7FC5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0" y="1737360"/>
            <a:ext cx="7012781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9011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22C30B5-3792-4E4B-A88E-9EB993E202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DA05FDA-F191-8E4B-9D3F-39F03BD735B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0" y="1737360"/>
            <a:ext cx="4114800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1B7D16F-A467-AD46-BFD4-6949827D3F4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686300" y="1737360"/>
            <a:ext cx="4112514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6601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hoto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22C30B5-3792-4E4B-A88E-9EB993E202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8003119E-6ED5-A04F-A9CB-BCB26099308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2900" y="1737358"/>
            <a:ext cx="4114800" cy="297180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9DA05FDA-F191-8E4B-9D3F-39F03BD735B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0" y="4937760"/>
            <a:ext cx="4114800" cy="1280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4D0CAF51-2B50-154B-BC7A-BF332C4DFDA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86300" y="1737358"/>
            <a:ext cx="4114800" cy="297180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C1B7D16F-A467-AD46-BFD4-6949827D3F4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686300" y="4937760"/>
            <a:ext cx="4114800" cy="12801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054347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108">
          <p15:clr>
            <a:srgbClr val="A4A3A4"/>
          </p15:clr>
        </p15:guide>
        <p15:guide id="2" orient="horz" pos="2968">
          <p15:clr>
            <a:srgbClr val="A4A3A4"/>
          </p15:clr>
        </p15:guide>
        <p15:guide id="3" orient="horz" pos="1092">
          <p15:clr>
            <a:srgbClr val="A4A3A4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A9F140ED-A954-D843-87E1-8E636778CB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A87E07-D230-4A2B-90EB-BAFE34A4AD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42900" y="1737360"/>
            <a:ext cx="2666999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F30D3B-DD55-43C0-9A96-3AC11E0112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238501" y="1737360"/>
            <a:ext cx="2669381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E7CE142-0CA8-FE44-AEBE-6EA0C0C5956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136482" y="1737360"/>
            <a:ext cx="2662332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5403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hoto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>
            <a:extLst>
              <a:ext uri="{FF2B5EF4-FFF2-40B4-BE49-F238E27FC236}">
                <a16:creationId xmlns:a16="http://schemas.microsoft.com/office/drawing/2014/main" id="{3AE667E5-98EE-5349-8A56-61BA231EA6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0" y="457200"/>
            <a:ext cx="7012781" cy="91440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3F6B296F-04BC-6341-B4FE-0C06D815992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42900" y="1737358"/>
            <a:ext cx="2667000" cy="2377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F2A87E07-D230-4A2B-90EB-BAFE34A4AD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42900" y="4343401"/>
            <a:ext cx="2667000" cy="1874519"/>
          </a:xfrm>
        </p:spPr>
        <p:txBody>
          <a:bodyPr/>
          <a:lstStyle>
            <a:lvl1pPr marL="137160" indent="-137160">
              <a:defRPr sz="1050"/>
            </a:lvl1pPr>
            <a:lvl2pPr marL="274320" indent="-137160">
              <a:defRPr sz="1050"/>
            </a:lvl2pPr>
            <a:lvl3pPr marL="411480" indent="-137160">
              <a:defRPr sz="1050"/>
            </a:lvl3pPr>
            <a:lvl4pPr marL="548640" indent="-137160">
              <a:defRPr sz="1050"/>
            </a:lvl4pPr>
            <a:lvl5pPr marL="685800" indent="-137160">
              <a:defRPr sz="1050"/>
            </a:lvl5pPr>
            <a:lvl6pPr marL="822960" indent="-137160">
              <a:defRPr sz="1050"/>
            </a:lvl6pPr>
            <a:lvl7pPr marL="960120" indent="-137160">
              <a:defRPr sz="1050"/>
            </a:lvl7pPr>
            <a:lvl8pPr marL="1097280" indent="-137160">
              <a:defRPr sz="1050"/>
            </a:lvl8pPr>
            <a:lvl9pPr marL="1234440" indent="-137160"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68B1F4A6-D35D-314A-8458-FAACCF02778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38500" y="1737358"/>
            <a:ext cx="2669381" cy="2377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CFF30D3B-DD55-43C0-9A96-3AC11E0112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238501" y="4343401"/>
            <a:ext cx="2669381" cy="1874519"/>
          </a:xfrm>
        </p:spPr>
        <p:txBody>
          <a:bodyPr/>
          <a:lstStyle>
            <a:lvl1pPr marL="137160" indent="-137160">
              <a:defRPr sz="1050"/>
            </a:lvl1pPr>
            <a:lvl2pPr marL="274320" indent="-137160">
              <a:defRPr sz="1050"/>
            </a:lvl2pPr>
            <a:lvl3pPr marL="411480" indent="-137160">
              <a:defRPr sz="1050"/>
            </a:lvl3pPr>
            <a:lvl4pPr marL="548640" indent="-137160">
              <a:defRPr sz="1050"/>
            </a:lvl4pPr>
            <a:lvl5pPr marL="685800" indent="-137160">
              <a:defRPr sz="1050"/>
            </a:lvl5pPr>
            <a:lvl6pPr marL="822960" indent="-137160">
              <a:defRPr sz="1050"/>
            </a:lvl6pPr>
            <a:lvl7pPr marL="960120" indent="-137160">
              <a:defRPr sz="1050"/>
            </a:lvl7pPr>
            <a:lvl8pPr marL="1097280" indent="-137160">
              <a:defRPr sz="1050"/>
            </a:lvl8pPr>
            <a:lvl9pPr marL="1234440" indent="-137160"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D3A36F88-D46F-A045-9FAE-DB4F02EE338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36482" y="1737358"/>
            <a:ext cx="2664619" cy="2377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3E7CE142-0CA8-FE44-AEBE-6EA0C0C5956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136482" y="4343401"/>
            <a:ext cx="2664619" cy="1874519"/>
          </a:xfrm>
        </p:spPr>
        <p:txBody>
          <a:bodyPr/>
          <a:lstStyle>
            <a:lvl1pPr marL="137160" indent="-137160">
              <a:defRPr sz="1050"/>
            </a:lvl1pPr>
            <a:lvl2pPr marL="274320" indent="-137160">
              <a:defRPr sz="1050"/>
            </a:lvl2pPr>
            <a:lvl3pPr marL="411480" indent="-137160">
              <a:defRPr sz="1050"/>
            </a:lvl3pPr>
            <a:lvl4pPr marL="548640" indent="-137160">
              <a:defRPr sz="1050"/>
            </a:lvl4pPr>
            <a:lvl5pPr marL="685800" indent="-137160">
              <a:defRPr sz="1050"/>
            </a:lvl5pPr>
            <a:lvl6pPr marL="822960" indent="-137160">
              <a:defRPr sz="1050"/>
            </a:lvl6pPr>
            <a:lvl7pPr marL="960120" indent="-137160">
              <a:defRPr sz="1050"/>
            </a:lvl7pPr>
            <a:lvl8pPr marL="1097280" indent="-137160">
              <a:defRPr sz="1050"/>
            </a:lvl8pPr>
            <a:lvl9pPr marL="1234440" indent="-137160"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5078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6" orient="horz" pos="2592">
          <p15:clr>
            <a:srgbClr val="A4A3A4"/>
          </p15:clr>
        </p15:guide>
        <p15:guide id="7" orient="horz" pos="2734">
          <p15:clr>
            <a:srgbClr val="A4A3A4"/>
          </p15:clr>
        </p15:guide>
        <p15:guide id="8" orient="horz" pos="1092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53E242F-D047-40E0-904E-9D2C58699B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8650" y="6336618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escometering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FC95787-535C-450B-88E4-80BB5E6957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EAC4C4-F0A7-4B61-A827-E4198D07826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5307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41B625E-44A6-7E49-99D5-8C73EBF7E7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0" y="457200"/>
            <a:ext cx="7012781" cy="91440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2A87E07-D230-4A2B-90EB-BAFE34A4AD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42900" y="1737360"/>
            <a:ext cx="1221581" cy="448056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FF30D3B-DD55-43C0-9A96-3AC11E0112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790701" y="1737360"/>
            <a:ext cx="1219961" cy="448056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E7CE142-0CA8-FE44-AEBE-6EA0C0C5956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38501" y="1737360"/>
            <a:ext cx="1219199" cy="448056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5">
            <a:extLst>
              <a:ext uri="{FF2B5EF4-FFF2-40B4-BE49-F238E27FC236}">
                <a16:creationId xmlns:a16="http://schemas.microsoft.com/office/drawing/2014/main" id="{5BC9E542-5C7A-5F45-986F-1849A865FCE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86300" y="1737360"/>
            <a:ext cx="1219199" cy="448056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6">
            <a:extLst>
              <a:ext uri="{FF2B5EF4-FFF2-40B4-BE49-F238E27FC236}">
                <a16:creationId xmlns:a16="http://schemas.microsoft.com/office/drawing/2014/main" id="{6544A43D-2F1E-3848-B23C-4FBC4563348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36483" y="1737360"/>
            <a:ext cx="1219199" cy="448056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Content Placeholder 7">
            <a:extLst>
              <a:ext uri="{FF2B5EF4-FFF2-40B4-BE49-F238E27FC236}">
                <a16:creationId xmlns:a16="http://schemas.microsoft.com/office/drawing/2014/main" id="{E2895ADA-48AA-C84D-A65B-7441BB140A9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586666" y="1737360"/>
            <a:ext cx="1212148" cy="448056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7915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Photo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41B625E-44A6-7E49-99D5-8C73EBF7E7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0" y="457200"/>
            <a:ext cx="7012781" cy="91440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5D8E3C3A-BC08-3E46-9CCD-F118AD3A5FC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2900" y="1737358"/>
            <a:ext cx="1220724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F2A87E07-D230-4A2B-90EB-BAFE34A4ADA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42900" y="3154680"/>
            <a:ext cx="1221581" cy="306324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EFA28167-CB7D-C341-84A9-A9F9D24B95A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790700" y="1737358"/>
            <a:ext cx="1220724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Content Placeholder 5">
            <a:extLst>
              <a:ext uri="{FF2B5EF4-FFF2-40B4-BE49-F238E27FC236}">
                <a16:creationId xmlns:a16="http://schemas.microsoft.com/office/drawing/2014/main" id="{CFF30D3B-DD55-43C0-9A96-3AC11E0112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790701" y="3154680"/>
            <a:ext cx="1219961" cy="306324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BB98807F-BA29-0440-AC0B-37992865D5C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38501" y="1737358"/>
            <a:ext cx="1220724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3E7CE142-0CA8-FE44-AEBE-6EA0C0C59560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238501" y="3154680"/>
            <a:ext cx="1219199" cy="306324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8">
            <a:extLst>
              <a:ext uri="{FF2B5EF4-FFF2-40B4-BE49-F238E27FC236}">
                <a16:creationId xmlns:a16="http://schemas.microsoft.com/office/drawing/2014/main" id="{AFFF6CCC-8DBB-A741-AA67-EC14C297B81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86300" y="1737358"/>
            <a:ext cx="1220724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5BC9E542-5C7A-5F45-986F-1849A865FCE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686300" y="3154680"/>
            <a:ext cx="1219199" cy="306324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Picture Placeholder 10">
            <a:extLst>
              <a:ext uri="{FF2B5EF4-FFF2-40B4-BE49-F238E27FC236}">
                <a16:creationId xmlns:a16="http://schemas.microsoft.com/office/drawing/2014/main" id="{5B678099-6AAF-EE4E-81F3-60755C4436F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36483" y="1737358"/>
            <a:ext cx="1220724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Content Placeholder 11">
            <a:extLst>
              <a:ext uri="{FF2B5EF4-FFF2-40B4-BE49-F238E27FC236}">
                <a16:creationId xmlns:a16="http://schemas.microsoft.com/office/drawing/2014/main" id="{6544A43D-2F1E-3848-B23C-4FBC4563348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136483" y="3154680"/>
            <a:ext cx="1219199" cy="306324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12">
            <a:extLst>
              <a:ext uri="{FF2B5EF4-FFF2-40B4-BE49-F238E27FC236}">
                <a16:creationId xmlns:a16="http://schemas.microsoft.com/office/drawing/2014/main" id="{EF3DFB9E-32BB-C040-8B1A-72E687796F0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586666" y="1737358"/>
            <a:ext cx="1212148" cy="123444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9" name="Content Placeholder 13">
            <a:extLst>
              <a:ext uri="{FF2B5EF4-FFF2-40B4-BE49-F238E27FC236}">
                <a16:creationId xmlns:a16="http://schemas.microsoft.com/office/drawing/2014/main" id="{E2895ADA-48AA-C84D-A65B-7441BB140A9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586666" y="3154680"/>
            <a:ext cx="1212148" cy="3063240"/>
          </a:xfrm>
        </p:spPr>
        <p:txBody>
          <a:bodyPr>
            <a:noAutofit/>
          </a:bodyPr>
          <a:lstStyle>
            <a:lvl1pPr marL="102870" indent="-102870">
              <a:spcBef>
                <a:spcPts val="675"/>
              </a:spcBef>
              <a:defRPr sz="900"/>
            </a:lvl1pPr>
            <a:lvl2pPr marL="205740" indent="-102870">
              <a:spcBef>
                <a:spcPts val="225"/>
              </a:spcBef>
              <a:defRPr sz="900"/>
            </a:lvl2pPr>
            <a:lvl3pPr marL="308610" indent="-102870">
              <a:spcBef>
                <a:spcPts val="225"/>
              </a:spcBef>
              <a:defRPr sz="900"/>
            </a:lvl3pPr>
            <a:lvl4pPr marL="411480" indent="-102870">
              <a:spcBef>
                <a:spcPts val="225"/>
              </a:spcBef>
              <a:defRPr sz="900"/>
            </a:lvl4pPr>
            <a:lvl5pPr marL="514350" indent="-102870">
              <a:spcBef>
                <a:spcPts val="225"/>
              </a:spcBef>
              <a:defRPr sz="900"/>
            </a:lvl5pPr>
            <a:lvl6pPr marL="617220" indent="-102870">
              <a:spcBef>
                <a:spcPts val="225"/>
              </a:spcBef>
              <a:defRPr sz="900"/>
            </a:lvl6pPr>
            <a:lvl7pPr marL="720090" indent="-102870">
              <a:spcBef>
                <a:spcPts val="225"/>
              </a:spcBef>
              <a:defRPr sz="900"/>
            </a:lvl7pPr>
            <a:lvl8pPr marL="822960" indent="-102870">
              <a:spcBef>
                <a:spcPts val="225"/>
              </a:spcBef>
              <a:defRPr sz="900"/>
            </a:lvl8pPr>
            <a:lvl9pPr marL="925830" indent="-102870">
              <a:spcBef>
                <a:spcPts val="225"/>
              </a:spcBef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5086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872">
          <p15:clr>
            <a:srgbClr val="A4A3A4"/>
          </p15:clr>
        </p15:guide>
        <p15:guide id="2" orient="horz" pos="1986">
          <p15:clr>
            <a:srgbClr val="A4A3A4"/>
          </p15:clr>
        </p15:guide>
        <p15:guide id="3" orient="horz" pos="1092">
          <p15:clr>
            <a:srgbClr val="A4A3A4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1DB856AC-3CE9-C745-8E1F-72AC713776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0" y="457200"/>
            <a:ext cx="7012781" cy="91440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465466B-3F33-DB47-84A2-6F568D25265F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42900" y="1737360"/>
            <a:ext cx="2667000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EBA115F8-994C-8A4C-ACE0-25AE5F0718D6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3239814" y="1737360"/>
            <a:ext cx="5561286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905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9ED47DF-F22C-3D49-B066-4B51EE7042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0" y="457200"/>
            <a:ext cx="7012781" cy="91440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14C90D45-1AE3-474C-8013-D60AA387A812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42899" y="1737360"/>
            <a:ext cx="5564982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91FEA3D8-D639-BC4F-BDEF-E6116326D0B9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136482" y="1737360"/>
            <a:ext cx="2664620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4831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9D742D-B3DC-AA4D-912D-5EA93D96478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Optional slide title]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EDC1505-1CCF-3145-B369-C90344F39B01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42900" y="1737360"/>
            <a:ext cx="7012781" cy="448056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3600" b="0">
                <a:solidFill>
                  <a:schemeClr val="tx1"/>
                </a:solidFill>
              </a:defRPr>
            </a:lvl1pPr>
            <a:lvl2pPr marL="171450" indent="-171450">
              <a:lnSpc>
                <a:spcPct val="110000"/>
              </a:lnSpc>
              <a:spcBef>
                <a:spcPts val="900"/>
              </a:spcBef>
              <a:buFont typeface="Arial" panose="020B0604020202020204" pitchFamily="34" charset="0"/>
              <a:buChar char="–"/>
              <a:defRPr sz="1200" b="0">
                <a:solidFill>
                  <a:schemeClr val="tx1"/>
                </a:solidFill>
              </a:defRPr>
            </a:lvl2pPr>
            <a:lvl3pPr marL="342900" indent="-137160">
              <a:spcBef>
                <a:spcPts val="225"/>
              </a:spcBef>
              <a:buClrTx/>
              <a:buFont typeface="Arial" panose="020B0604020202020204" pitchFamily="34" charset="0"/>
              <a:buChar char="–"/>
              <a:defRPr/>
            </a:lvl3pPr>
            <a:lvl4pPr marL="514350" indent="-171450">
              <a:spcBef>
                <a:spcPts val="225"/>
              </a:spcBef>
              <a:buClrTx/>
              <a:buFont typeface="Arial" panose="020B0604020202020204" pitchFamily="34" charset="0"/>
              <a:buChar char="–"/>
              <a:defRPr/>
            </a:lvl4pPr>
            <a:lvl5pPr marL="685800" indent="-171450">
              <a:spcBef>
                <a:spcPts val="225"/>
              </a:spcBef>
              <a:buClrTx/>
              <a:buFont typeface="Arial" panose="020B0604020202020204" pitchFamily="34" charset="0"/>
              <a:buChar char="–"/>
              <a:defRPr/>
            </a:lvl5pPr>
            <a:lvl6pPr marL="857250" indent="-171450">
              <a:spcBef>
                <a:spcPts val="225"/>
              </a:spcBef>
              <a:buClrTx/>
              <a:buFont typeface="Arial" panose="020B0604020202020204" pitchFamily="34" charset="0"/>
              <a:buChar char="–"/>
              <a:defRPr/>
            </a:lvl6pPr>
            <a:lvl7pPr marL="1028700" indent="-171450">
              <a:spcBef>
                <a:spcPts val="225"/>
              </a:spcBef>
              <a:buClrTx/>
              <a:buFont typeface="Arial" panose="020B0604020202020204" pitchFamily="34" charset="0"/>
              <a:buChar char="–"/>
              <a:defRPr/>
            </a:lvl7pPr>
            <a:lvl8pPr marL="1200150" indent="-171450">
              <a:spcBef>
                <a:spcPts val="225"/>
              </a:spcBef>
              <a:buClrTx/>
              <a:buFont typeface="Arial" panose="020B0604020202020204" pitchFamily="34" charset="0"/>
              <a:buChar char="–"/>
              <a:defRPr/>
            </a:lvl8pPr>
            <a:lvl9pPr marL="1371600" indent="-171450">
              <a:spcBef>
                <a:spcPts val="225"/>
              </a:spcBef>
              <a:buClrTx/>
              <a:buFont typeface="Arial" panose="020B0604020202020204" pitchFamily="34" charset="0"/>
              <a:buChar char="–"/>
              <a:defRPr/>
            </a:lvl9pPr>
          </a:lstStyle>
          <a:p>
            <a:pPr lvl="0"/>
            <a:r>
              <a:rPr lang="en-US" dirty="0"/>
              <a:t>[Big statement]</a:t>
            </a:r>
          </a:p>
          <a:p>
            <a:pPr lvl="1"/>
            <a:r>
              <a:rPr lang="en-US" dirty="0"/>
              <a:t>[Attribution]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423794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503AFCD-99D5-BA44-9B85-794E757DA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0" y="457200"/>
            <a:ext cx="4114800" cy="91440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DA05FDA-F191-8E4B-9D3F-39F03BD735B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0" y="1737360"/>
            <a:ext cx="4114800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EB70FBD3-3AE3-8D4D-B019-8121AF06E9E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6300" y="0"/>
            <a:ext cx="4457700" cy="685800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5567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orient="horz" pos="1092">
          <p15:clr>
            <a:srgbClr val="A4A3A4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hoto - Blue">
    <p:bg>
      <p:bgPr>
        <a:solidFill>
          <a:srgbClr val="170D6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4503AFCD-99D5-BA44-9B85-794E757DA0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2900" y="457200"/>
            <a:ext cx="4114800" cy="91440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DA05FDA-F191-8E4B-9D3F-39F03BD735B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0" y="1737360"/>
            <a:ext cx="4114800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EB70FBD3-3AE3-8D4D-B019-8121AF06E9E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6300" y="0"/>
            <a:ext cx="4457700" cy="6858000"/>
          </a:xfrm>
          <a:solidFill>
            <a:srgbClr val="8B86B3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60959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4" orient="horz" pos="1092">
          <p15:clr>
            <a:srgbClr val="A4A3A4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hot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">
            <a:extLst>
              <a:ext uri="{FF2B5EF4-FFF2-40B4-BE49-F238E27FC236}">
                <a16:creationId xmlns:a16="http://schemas.microsoft.com/office/drawing/2014/main" id="{01336BB9-131E-EB4B-8700-C48DD8ACC01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4"/>
            <a:ext cx="9144000" cy="6857997"/>
          </a:xfrm>
          <a:solidFill>
            <a:srgbClr val="DBDBE9"/>
          </a:solidFill>
        </p:spPr>
        <p:txBody>
          <a:bodyPr anchor="ctr" anchorCtr="0">
            <a:norm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 cap="none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023FBAC-1788-B548-9C1F-C059390AD1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 marL="0" marR="0" indent="0" algn="l" defTabSz="5143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Optional slide title]</a:t>
            </a:r>
          </a:p>
        </p:txBody>
      </p:sp>
    </p:spTree>
    <p:extLst>
      <p:ext uri="{BB962C8B-B14F-4D97-AF65-F5344CB8AC3E}">
        <p14:creationId xmlns:p14="http://schemas.microsoft.com/office/powerpoint/2010/main" val="30009185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67921A-18B5-4EC0-B921-CA27E4A3D6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</p:spTree>
    <p:extLst>
      <p:ext uri="{BB962C8B-B14F-4D97-AF65-F5344CB8AC3E}">
        <p14:creationId xmlns:p14="http://schemas.microsoft.com/office/powerpoint/2010/main" val="3034885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9365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FC6C3806-062B-428D-9C60-7F07794F33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8650" y="6336618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tescometering.com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B4219FE-B80A-4E50-8CB4-E3E85F3FF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EAC4C4-F0A7-4B61-A827-E4198D07826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89F983AF-02B5-494E-9FCE-53D8F53A47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987426"/>
            <a:ext cx="2949178" cy="192876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D764A5D-28CB-4BF8-80DC-96083F2AEBA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916196"/>
            <a:ext cx="2949178" cy="295279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8308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gradFill>
          <a:gsLst>
            <a:gs pos="100000">
              <a:srgbClr val="6E06C1"/>
            </a:gs>
            <a:gs pos="65000">
              <a:srgbClr val="170D67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">
            <a:extLst>
              <a:ext uri="{FF2B5EF4-FFF2-40B4-BE49-F238E27FC236}">
                <a16:creationId xmlns:a16="http://schemas.microsoft.com/office/drawing/2014/main" id="{83D0FA9B-FB65-7E4A-94B6-DA461E5FAB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57" t="812" r="28978" b="33971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7" name="PECO" descr="PECO: An Exelon Company">
            <a:extLst>
              <a:ext uri="{FF2B5EF4-FFF2-40B4-BE49-F238E27FC236}">
                <a16:creationId xmlns:a16="http://schemas.microsoft.com/office/drawing/2014/main" id="{05420BBA-8C48-5E4F-8587-7A822AE546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50126" y="203197"/>
            <a:ext cx="2125123" cy="1217041"/>
          </a:xfrm>
          <a:prstGeom prst="rect">
            <a:avLst/>
          </a:prstGeom>
        </p:spPr>
      </p:pic>
      <p:sp>
        <p:nvSpPr>
          <p:cNvPr id="12" name="TextBox">
            <a:extLst>
              <a:ext uri="{FF2B5EF4-FFF2-40B4-BE49-F238E27FC236}">
                <a16:creationId xmlns:a16="http://schemas.microsoft.com/office/drawing/2014/main" id="{EEC090CD-1D8D-EF4F-AFB1-71B75EA35959}"/>
              </a:ext>
            </a:extLst>
          </p:cNvPr>
          <p:cNvSpPr txBox="1"/>
          <p:nvPr userDrawn="1"/>
        </p:nvSpPr>
        <p:spPr>
          <a:xfrm>
            <a:off x="342900" y="2926080"/>
            <a:ext cx="8458200" cy="173736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00000"/>
              <a:buFontTx/>
              <a:buNone/>
            </a:pPr>
            <a:r>
              <a:rPr lang="en-US" sz="4500" b="0" dirty="0">
                <a:solidFill>
                  <a:schemeClr val="tx1"/>
                </a:solidFill>
                <a:latin typeface="+mj-lt"/>
              </a:rPr>
              <a:t>Thank you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79D4DF77-3EF5-EE42-B584-7D896A52588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1" y="5305425"/>
            <a:ext cx="4114800" cy="9144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9pPr>
          </a:lstStyle>
          <a:p>
            <a:pPr lvl="0"/>
            <a:r>
              <a:rPr lang="en-US" dirty="0"/>
              <a:t>[Optional contact information]</a:t>
            </a:r>
          </a:p>
        </p:txBody>
      </p:sp>
    </p:spTree>
    <p:extLst>
      <p:ext uri="{BB962C8B-B14F-4D97-AF65-F5344CB8AC3E}">
        <p14:creationId xmlns:p14="http://schemas.microsoft.com/office/powerpoint/2010/main" val="255092480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Gray">
    <p:bg>
      <p:bgPr>
        <a:solidFill>
          <a:srgbClr val="DBD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>
            <a:extLst>
              <a:ext uri="{FF2B5EF4-FFF2-40B4-BE49-F238E27FC236}">
                <a16:creationId xmlns:a16="http://schemas.microsoft.com/office/drawing/2014/main" id="{BD2F1F44-13AA-9540-AEC8-CCC812D52A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6" name="PECO" descr="PECO: An Exelon Company">
            <a:extLst>
              <a:ext uri="{FF2B5EF4-FFF2-40B4-BE49-F238E27FC236}">
                <a16:creationId xmlns:a16="http://schemas.microsoft.com/office/drawing/2014/main" id="{2A2ABE23-0023-5E46-815D-CCB83CC896A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6" y="203197"/>
            <a:ext cx="2125123" cy="1217041"/>
          </a:xfrm>
          <a:prstGeom prst="rect">
            <a:avLst/>
          </a:prstGeom>
        </p:spPr>
      </p:pic>
      <p:sp>
        <p:nvSpPr>
          <p:cNvPr id="12" name="TextBox">
            <a:extLst>
              <a:ext uri="{FF2B5EF4-FFF2-40B4-BE49-F238E27FC236}">
                <a16:creationId xmlns:a16="http://schemas.microsoft.com/office/drawing/2014/main" id="{EEC090CD-1D8D-EF4F-AFB1-71B75EA35959}"/>
              </a:ext>
            </a:extLst>
          </p:cNvPr>
          <p:cNvSpPr txBox="1"/>
          <p:nvPr userDrawn="1"/>
        </p:nvSpPr>
        <p:spPr>
          <a:xfrm>
            <a:off x="342900" y="2926080"/>
            <a:ext cx="8458200" cy="173736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00000"/>
              <a:buFontTx/>
              <a:buNone/>
            </a:pPr>
            <a:r>
              <a:rPr lang="en-US" sz="4500" b="0" dirty="0">
                <a:solidFill>
                  <a:schemeClr val="tx1"/>
                </a:solidFill>
                <a:latin typeface="+mj-lt"/>
              </a:rPr>
              <a:t>Thank you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79D4DF77-3EF5-EE42-B584-7D896A52588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1" y="5305425"/>
            <a:ext cx="4114800" cy="9144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9pPr>
          </a:lstStyle>
          <a:p>
            <a:pPr lvl="0"/>
            <a:r>
              <a:rPr lang="en-US" dirty="0"/>
              <a:t>[Optional contact information]</a:t>
            </a:r>
          </a:p>
        </p:txBody>
      </p:sp>
    </p:spTree>
    <p:extLst>
      <p:ext uri="{BB962C8B-B14F-4D97-AF65-F5344CB8AC3E}">
        <p14:creationId xmlns:p14="http://schemas.microsoft.com/office/powerpoint/2010/main" val="339701757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>
            <a:extLst>
              <a:ext uri="{FF2B5EF4-FFF2-40B4-BE49-F238E27FC236}">
                <a16:creationId xmlns:a16="http://schemas.microsoft.com/office/drawing/2014/main" id="{CABF1D01-D617-5B4C-B94C-F3F2184C09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6" name="PECO" descr="PECO: An Exelon Company">
            <a:extLst>
              <a:ext uri="{FF2B5EF4-FFF2-40B4-BE49-F238E27FC236}">
                <a16:creationId xmlns:a16="http://schemas.microsoft.com/office/drawing/2014/main" id="{441E47AC-C454-DA45-9BA6-40C0EC0C59D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6" y="203197"/>
            <a:ext cx="2125123" cy="1217041"/>
          </a:xfrm>
          <a:prstGeom prst="rect">
            <a:avLst/>
          </a:prstGeom>
        </p:spPr>
      </p:pic>
      <p:sp>
        <p:nvSpPr>
          <p:cNvPr id="12" name="TextBox">
            <a:extLst>
              <a:ext uri="{FF2B5EF4-FFF2-40B4-BE49-F238E27FC236}">
                <a16:creationId xmlns:a16="http://schemas.microsoft.com/office/drawing/2014/main" id="{EEC090CD-1D8D-EF4F-AFB1-71B75EA35959}"/>
              </a:ext>
            </a:extLst>
          </p:cNvPr>
          <p:cNvSpPr txBox="1"/>
          <p:nvPr userDrawn="1"/>
        </p:nvSpPr>
        <p:spPr>
          <a:xfrm>
            <a:off x="342900" y="2926080"/>
            <a:ext cx="8458200" cy="173736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indent="0">
              <a:lnSpc>
                <a:spcPct val="90000"/>
              </a:lnSpc>
              <a:spcBef>
                <a:spcPts val="0"/>
              </a:spcBef>
              <a:buClr>
                <a:schemeClr val="accent1"/>
              </a:buClr>
              <a:buSzPct val="100000"/>
              <a:buFontTx/>
              <a:buNone/>
            </a:pPr>
            <a:r>
              <a:rPr lang="en-US" sz="4500" b="0" dirty="0">
                <a:solidFill>
                  <a:schemeClr val="tx1"/>
                </a:solidFill>
                <a:latin typeface="+mj-lt"/>
              </a:rPr>
              <a:t>Thank you</a:t>
            </a:r>
          </a:p>
        </p:txBody>
      </p:sp>
      <p:sp>
        <p:nvSpPr>
          <p:cNvPr id="19" name="Text Placeholder 1">
            <a:extLst>
              <a:ext uri="{FF2B5EF4-FFF2-40B4-BE49-F238E27FC236}">
                <a16:creationId xmlns:a16="http://schemas.microsoft.com/office/drawing/2014/main" id="{79D4DF77-3EF5-EE42-B584-7D896A52588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1" y="5305425"/>
            <a:ext cx="4114800" cy="9144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/>
            </a:lvl9pPr>
          </a:lstStyle>
          <a:p>
            <a:pPr lvl="0"/>
            <a:r>
              <a:rPr lang="en-US" dirty="0"/>
              <a:t>[Optional contact information]</a:t>
            </a:r>
          </a:p>
        </p:txBody>
      </p:sp>
    </p:spTree>
    <p:extLst>
      <p:ext uri="{BB962C8B-B14F-4D97-AF65-F5344CB8AC3E}">
        <p14:creationId xmlns:p14="http://schemas.microsoft.com/office/powerpoint/2010/main" val="139942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bg>
      <p:bgPr>
        <a:gradFill>
          <a:gsLst>
            <a:gs pos="65000">
              <a:srgbClr val="170D67"/>
            </a:gs>
            <a:gs pos="100000">
              <a:srgbClr val="6E06C1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ECO" descr="PECO: An Exelon Company">
            <a:extLst>
              <a:ext uri="{FF2B5EF4-FFF2-40B4-BE49-F238E27FC236}">
                <a16:creationId xmlns:a16="http://schemas.microsoft.com/office/drawing/2014/main" id="{DA6E9EFB-9A4A-4845-8C41-FFE5AE5B79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700213" y="1784350"/>
            <a:ext cx="5743575" cy="328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78321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- Gray">
    <p:bg>
      <p:bgPr>
        <a:solidFill>
          <a:srgbClr val="DBD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ECO" descr="PECO: An Exelon Company">
            <a:extLst>
              <a:ext uri="{FF2B5EF4-FFF2-40B4-BE49-F238E27FC236}">
                <a16:creationId xmlns:a16="http://schemas.microsoft.com/office/drawing/2014/main" id="{8EADD1EA-08FE-BD43-89F4-1D6C443688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700213" y="1784350"/>
            <a:ext cx="5743575" cy="328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708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ECO" descr="PECO: An Exelon Company">
            <a:extLst>
              <a:ext uri="{FF2B5EF4-FFF2-40B4-BE49-F238E27FC236}">
                <a16:creationId xmlns:a16="http://schemas.microsoft.com/office/drawing/2014/main" id="{00346728-1559-3141-8647-7C1E20A3C4D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700213" y="1784350"/>
            <a:ext cx="5743575" cy="3289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0595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gradFill>
          <a:gsLst>
            <a:gs pos="100000">
              <a:srgbClr val="6E06C1"/>
            </a:gs>
            <a:gs pos="65000">
              <a:srgbClr val="170D67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">
            <a:extLst>
              <a:ext uri="{FF2B5EF4-FFF2-40B4-BE49-F238E27FC236}">
                <a16:creationId xmlns:a16="http://schemas.microsoft.com/office/drawing/2014/main" id="{350772A3-E462-9C4A-9452-404AE4ACB8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57" t="812" r="28978" b="33971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9" name="PECO" descr="PECO: An Exelon Company">
            <a:extLst>
              <a:ext uri="{FF2B5EF4-FFF2-40B4-BE49-F238E27FC236}">
                <a16:creationId xmlns:a16="http://schemas.microsoft.com/office/drawing/2014/main" id="{EABD70D4-68D7-0C45-A49B-5ECE9926710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50127" y="203199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8458200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500" b="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4846320"/>
            <a:ext cx="84582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4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4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4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4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4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4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4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4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4"/>
                </a:solidFill>
                <a:latin typeface="+mn-lt"/>
              </a:defRPr>
            </a:lvl9pPr>
          </a:lstStyle>
          <a:p>
            <a:r>
              <a:rPr lang="en-US"/>
              <a:t>[Business Unit | Presenter Name]</a:t>
            </a:r>
          </a:p>
        </p:txBody>
      </p:sp>
    </p:spTree>
    <p:extLst>
      <p:ext uri="{BB962C8B-B14F-4D97-AF65-F5344CB8AC3E}">
        <p14:creationId xmlns:p14="http://schemas.microsoft.com/office/powerpoint/2010/main" val="27775190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Gray">
    <p:bg>
      <p:bgPr>
        <a:solidFill>
          <a:srgbClr val="DBD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">
            <a:extLst>
              <a:ext uri="{FF2B5EF4-FFF2-40B4-BE49-F238E27FC236}">
                <a16:creationId xmlns:a16="http://schemas.microsoft.com/office/drawing/2014/main" id="{398504CC-7A82-FB4C-A4B1-3D8E3DAA21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10" name="PECO" descr="PECO: An Exelon Company">
            <a:extLst>
              <a:ext uri="{FF2B5EF4-FFF2-40B4-BE49-F238E27FC236}">
                <a16:creationId xmlns:a16="http://schemas.microsoft.com/office/drawing/2014/main" id="{B0E25EAB-0119-8448-BC02-9964B93EDA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7" y="203199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8458200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500" b="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4846320"/>
            <a:ext cx="84582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9pPr>
          </a:lstStyle>
          <a:p>
            <a:r>
              <a:rPr lang="en-US"/>
              <a:t>[Business Unit | Presenter Name]</a:t>
            </a:r>
          </a:p>
        </p:txBody>
      </p:sp>
    </p:spTree>
    <p:extLst>
      <p:ext uri="{BB962C8B-B14F-4D97-AF65-F5344CB8AC3E}">
        <p14:creationId xmlns:p14="http://schemas.microsoft.com/office/powerpoint/2010/main" val="21330667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">
            <a:extLst>
              <a:ext uri="{FF2B5EF4-FFF2-40B4-BE49-F238E27FC236}">
                <a16:creationId xmlns:a16="http://schemas.microsoft.com/office/drawing/2014/main" id="{CC994166-3B1A-384C-BF72-C2F43D019E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pic>
        <p:nvPicPr>
          <p:cNvPr id="7" name="PECO" descr="PECO: An Exelon Company">
            <a:extLst>
              <a:ext uri="{FF2B5EF4-FFF2-40B4-BE49-F238E27FC236}">
                <a16:creationId xmlns:a16="http://schemas.microsoft.com/office/drawing/2014/main" id="{0337147C-8E55-D348-B558-D94AB4A9E8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7" y="203199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8458200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500" b="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4846320"/>
            <a:ext cx="84582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9pPr>
          </a:lstStyle>
          <a:p>
            <a:r>
              <a:rPr lang="en-US"/>
              <a:t>[Business Unit | Presenter Name]</a:t>
            </a:r>
          </a:p>
        </p:txBody>
      </p:sp>
    </p:spTree>
    <p:extLst>
      <p:ext uri="{BB962C8B-B14F-4D97-AF65-F5344CB8AC3E}">
        <p14:creationId xmlns:p14="http://schemas.microsoft.com/office/powerpoint/2010/main" val="26845071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Full Phot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ECO" descr="PECO: An Exelon Company">
            <a:extLst>
              <a:ext uri="{FF2B5EF4-FFF2-40B4-BE49-F238E27FC236}">
                <a16:creationId xmlns:a16="http://schemas.microsoft.com/office/drawing/2014/main" id="{D3FFAE08-AF81-7940-BB58-65CD3319B1A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50127" y="203199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8458200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500" b="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4846320"/>
            <a:ext cx="84582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bg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en-US"/>
              <a:t>[Business Unit | Presenter Name]</a:t>
            </a:r>
          </a:p>
        </p:txBody>
      </p:sp>
    </p:spTree>
    <p:extLst>
      <p:ext uri="{BB962C8B-B14F-4D97-AF65-F5344CB8AC3E}">
        <p14:creationId xmlns:p14="http://schemas.microsoft.com/office/powerpoint/2010/main" val="14575111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987426"/>
            <a:ext cx="2949178" cy="192876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916196"/>
            <a:ext cx="2949178" cy="2952793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98DF29A6-E9EC-4586-AC5E-CF2B1E7820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8650" y="6336618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accent1"/>
                </a:solidFill>
              </a:defRPr>
            </a:lvl1pPr>
          </a:lstStyle>
          <a:p>
            <a:r>
              <a:rPr lang="en-US"/>
              <a:t>tescometering.com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B9AED3D-4FCF-4D9B-A060-41F491F787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EAC4C4-F0A7-4B61-A827-E4198D07826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68976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Half Photo">
    <p:bg>
      <p:bgPr>
        <a:gradFill>
          <a:gsLst>
            <a:gs pos="100000">
              <a:srgbClr val="6E06C1"/>
            </a:gs>
            <a:gs pos="65000">
              <a:srgbClr val="170D67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ECO" descr="PECO: An Exelon Company">
            <a:extLst>
              <a:ext uri="{FF2B5EF4-FFF2-40B4-BE49-F238E27FC236}">
                <a16:creationId xmlns:a16="http://schemas.microsoft.com/office/drawing/2014/main" id="{B950E78D-63B6-0549-BC3F-812F4C4877E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black">
          <a:xfrm>
            <a:off x="150127" y="203199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4114800" cy="246888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500" b="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5669280"/>
            <a:ext cx="41148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/>
              <a:t>[Business Unit | Presenter Name]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98FF03FD-D721-FE49-9958-D1D94DE75B8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6300" y="0"/>
            <a:ext cx="4457700" cy="6858000"/>
          </a:xfrm>
          <a:solidFill>
            <a:srgbClr val="8B86B3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065000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Half Photo - Gray">
    <p:bg>
      <p:bgPr>
        <a:solidFill>
          <a:srgbClr val="DBD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ECO" descr="PECO: An Exelon Company">
            <a:extLst>
              <a:ext uri="{FF2B5EF4-FFF2-40B4-BE49-F238E27FC236}">
                <a16:creationId xmlns:a16="http://schemas.microsoft.com/office/drawing/2014/main" id="{D5CD640B-AC26-B142-8006-813CBDFF630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7" y="203199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4114800" cy="246888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500" b="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5669280"/>
            <a:ext cx="41148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9pPr>
          </a:lstStyle>
          <a:p>
            <a:r>
              <a:rPr lang="en-US"/>
              <a:t>[Business Unit | Presenter Name]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98FF03FD-D721-FE49-9958-D1D94DE75B8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6300" y="0"/>
            <a:ext cx="4457700" cy="6858000"/>
          </a:xfrm>
          <a:solidFill>
            <a:srgbClr val="8B86B3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7284385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Half Photo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ECO" descr="PECO: An Exelon Company">
            <a:extLst>
              <a:ext uri="{FF2B5EF4-FFF2-40B4-BE49-F238E27FC236}">
                <a16:creationId xmlns:a16="http://schemas.microsoft.com/office/drawing/2014/main" id="{978A3E00-AD7C-BD48-9BF7-B043332D2B9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50127" y="203199"/>
            <a:ext cx="2125123" cy="1217041"/>
          </a:xfrm>
          <a:prstGeom prst="rect">
            <a:avLst/>
          </a:prstGeom>
        </p:spPr>
      </p:pic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A2DDB17-9112-E141-B487-6AB063DEE9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2286000"/>
            <a:ext cx="4114800" cy="4572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50" b="0" cap="none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/>
              <a:t>[Month 00, 0000]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53F8AB78-8FDA-46ED-B308-67C07FAC61F6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42900" y="2926080"/>
            <a:ext cx="4114800" cy="246888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500" b="0">
                <a:solidFill>
                  <a:schemeClr val="tx1"/>
                </a:solidFill>
              </a:defRPr>
            </a:lvl1pPr>
          </a:lstStyle>
          <a:p>
            <a:r>
              <a:rPr lang="en-US"/>
              <a:t>[Presentation title]</a:t>
            </a:r>
          </a:p>
        </p:txBody>
      </p:sp>
      <p:sp>
        <p:nvSpPr>
          <p:cNvPr id="3" name="Subtitle 3">
            <a:extLst>
              <a:ext uri="{FF2B5EF4-FFF2-40B4-BE49-F238E27FC236}">
                <a16:creationId xmlns:a16="http://schemas.microsoft.com/office/drawing/2014/main" id="{61892C3E-3DA9-484B-A45D-DEED5EFA6C4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42900" y="5669280"/>
            <a:ext cx="4114800" cy="54864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None/>
              <a:defRPr sz="1500" b="0">
                <a:solidFill>
                  <a:schemeClr val="accent2"/>
                </a:solidFill>
                <a:latin typeface="+mn-lt"/>
              </a:defRPr>
            </a:lvl9pPr>
          </a:lstStyle>
          <a:p>
            <a:r>
              <a:rPr lang="en-US"/>
              <a:t>[Business Unit | Presenter Name]</a:t>
            </a:r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98FF03FD-D721-FE49-9958-D1D94DE75B8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686300" y="0"/>
            <a:ext cx="4457700" cy="6858000"/>
          </a:xfrm>
          <a:solidFill>
            <a:srgbClr val="DBDBE9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Tx/>
              <a:buNone/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4817349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B5CCE3BE-287D-5C40-8E88-33DE08CE2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E9F1870-3C4F-E343-9315-9272E669690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342901" y="1737360"/>
            <a:ext cx="7012781" cy="4480560"/>
          </a:xfrm>
        </p:spPr>
        <p:txBody>
          <a:bodyPr/>
          <a:lstStyle>
            <a:lvl1pPr marL="342900" indent="-342900">
              <a:buFont typeface="+mj-lt"/>
              <a:buAutoNum type="arabicPeriod"/>
              <a:defRPr sz="1800"/>
            </a:lvl1pPr>
            <a:lvl2pPr marL="514350" indent="-171450">
              <a:buFont typeface="Arial" panose="020B0604020202020204" pitchFamily="34" charset="0"/>
              <a:buChar char="–"/>
              <a:defRPr sz="1200"/>
            </a:lvl2pPr>
            <a:lvl3pPr marL="685800" indent="-171450">
              <a:buFont typeface="Arial" panose="020B0604020202020204" pitchFamily="34" charset="0"/>
              <a:buChar char="–"/>
              <a:defRPr sz="1200"/>
            </a:lvl3pPr>
            <a:lvl4pPr marL="857250" indent="-171450">
              <a:buFont typeface="Arial" panose="020B0604020202020204" pitchFamily="34" charset="0"/>
              <a:buChar char="–"/>
              <a:defRPr sz="1200"/>
            </a:lvl4pPr>
            <a:lvl5pPr marL="1028700" indent="-171450">
              <a:buFont typeface="Arial" panose="020B0604020202020204" pitchFamily="34" charset="0"/>
              <a:buChar char="–"/>
              <a:defRPr sz="1200"/>
            </a:lvl5pPr>
            <a:lvl6pPr marL="1200150" indent="-171450">
              <a:buFont typeface="Arial" panose="020B0604020202020204" pitchFamily="34" charset="0"/>
              <a:buChar char="–"/>
              <a:defRPr sz="1200"/>
            </a:lvl6pPr>
            <a:lvl7pPr marL="1371600" indent="-171450">
              <a:buFont typeface="Arial" panose="020B0604020202020204" pitchFamily="34" charset="0"/>
              <a:buChar char="–"/>
              <a:defRPr sz="1200"/>
            </a:lvl7pPr>
            <a:lvl8pPr marL="1543050" indent="-171450">
              <a:buFont typeface="Arial" panose="020B0604020202020204" pitchFamily="34" charset="0"/>
              <a:buChar char="–"/>
              <a:defRPr sz="1200"/>
            </a:lvl8pPr>
            <a:lvl9pPr marL="1714500" indent="-171450">
              <a:buFont typeface="Arial" panose="020B0604020202020204" pitchFamily="34" charset="0"/>
              <a:buChar char="–"/>
              <a:defRPr sz="1200"/>
            </a:lvl9pPr>
          </a:lstStyle>
          <a:p>
            <a:pPr lvl="0"/>
            <a:r>
              <a:rPr lang="en-US"/>
              <a:t>[Agenda item]</a:t>
            </a:r>
          </a:p>
          <a:p>
            <a:pPr lvl="1"/>
            <a:r>
              <a:rPr lang="en-US"/>
              <a:t>[Agenda sub-item]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859190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6" orient="horz" pos="1092">
          <p15:clr>
            <a:srgbClr val="A4A3A4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gradFill>
          <a:gsLst>
            <a:gs pos="100000">
              <a:srgbClr val="6E06C1"/>
            </a:gs>
            <a:gs pos="65000">
              <a:srgbClr val="170D67"/>
            </a:gs>
          </a:gsLst>
          <a:lin ang="81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">
            <a:extLst>
              <a:ext uri="{FF2B5EF4-FFF2-40B4-BE49-F238E27FC236}">
                <a16:creationId xmlns:a16="http://schemas.microsoft.com/office/drawing/2014/main" id="{B078EA1A-886B-D948-BAAC-EBBBB34BC5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857" t="812" r="28978" b="33971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55B0C33-1FF8-8D45-92A3-4C74289F1F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ltGray">
          <a:xfrm>
            <a:off x="340520" y="454024"/>
            <a:ext cx="2669381" cy="1371600"/>
          </a:xfrm>
        </p:spPr>
        <p:txBody>
          <a:bodyPr wrap="none" tIns="45720" rIns="0" bIns="0" anchor="t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2pPr>
            <a:lvl3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3pPr>
            <a:lvl4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4pPr>
            <a:lvl5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5pPr>
            <a:lvl6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6pPr>
            <a:lvl7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7pPr>
            <a:lvl8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8pPr>
            <a:lvl9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9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641D334-3DBF-4D13-804B-67B29A3D48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520" y="2926080"/>
            <a:ext cx="8460581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500" b="0">
                <a:solidFill>
                  <a:schemeClr val="tx1"/>
                </a:solidFill>
              </a:defRPr>
            </a:lvl1pPr>
          </a:lstStyle>
          <a:p>
            <a:r>
              <a:rPr lang="en-US"/>
              <a:t>[Section header title]</a:t>
            </a:r>
          </a:p>
        </p:txBody>
      </p:sp>
    </p:spTree>
    <p:extLst>
      <p:ext uri="{BB962C8B-B14F-4D97-AF65-F5344CB8AC3E}">
        <p14:creationId xmlns:p14="http://schemas.microsoft.com/office/powerpoint/2010/main" val="40181311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Gray">
    <p:bg>
      <p:bgPr>
        <a:solidFill>
          <a:srgbClr val="DBD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">
            <a:extLst>
              <a:ext uri="{FF2B5EF4-FFF2-40B4-BE49-F238E27FC236}">
                <a16:creationId xmlns:a16="http://schemas.microsoft.com/office/drawing/2014/main" id="{EC80D5FA-D7D6-344C-8305-FC61A0FD9D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55B0C33-1FF8-8D45-92A3-4C74289F1F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ltGray">
          <a:xfrm>
            <a:off x="340520" y="454024"/>
            <a:ext cx="2669381" cy="1371600"/>
          </a:xfrm>
        </p:spPr>
        <p:txBody>
          <a:bodyPr wrap="none" tIns="45720" rIns="0" bIns="0" anchor="t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2pPr>
            <a:lvl3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3pPr>
            <a:lvl4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4pPr>
            <a:lvl5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5pPr>
            <a:lvl6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6pPr>
            <a:lvl7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7pPr>
            <a:lvl8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8pPr>
            <a:lvl9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9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641D334-3DBF-4D13-804B-67B29A3D48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520" y="2926080"/>
            <a:ext cx="8460581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500" b="0">
                <a:solidFill>
                  <a:schemeClr val="tx1"/>
                </a:solidFill>
              </a:defRPr>
            </a:lvl1pPr>
          </a:lstStyle>
          <a:p>
            <a:r>
              <a:rPr lang="en-US"/>
              <a:t>[Section header title]</a:t>
            </a:r>
          </a:p>
        </p:txBody>
      </p:sp>
    </p:spTree>
    <p:extLst>
      <p:ext uri="{BB962C8B-B14F-4D97-AF65-F5344CB8AC3E}">
        <p14:creationId xmlns:p14="http://schemas.microsoft.com/office/powerpoint/2010/main" val="21101512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">
            <a:extLst>
              <a:ext uri="{FF2B5EF4-FFF2-40B4-BE49-F238E27FC236}">
                <a16:creationId xmlns:a16="http://schemas.microsoft.com/office/drawing/2014/main" id="{93E71FEF-77B6-5241-81B1-D0D833923F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00" r="28020" b="34783"/>
          <a:stretch/>
        </p:blipFill>
        <p:spPr bwMode="hidden">
          <a:xfrm>
            <a:off x="3238501" y="0"/>
            <a:ext cx="5905500" cy="6858000"/>
          </a:xfrm>
          <a:prstGeom prst="rect">
            <a:avLst/>
          </a:prstGeom>
        </p:spPr>
      </p:pic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055B0C33-1FF8-8D45-92A3-4C74289F1F9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ltGray">
          <a:xfrm>
            <a:off x="340520" y="454024"/>
            <a:ext cx="2669381" cy="1371600"/>
          </a:xfrm>
        </p:spPr>
        <p:txBody>
          <a:bodyPr wrap="none" tIns="45720" rIns="0" bIns="0" anchor="t" anchorCtr="0"/>
          <a:lstStyle>
            <a:lvl1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1pPr>
            <a:lvl2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2pPr>
            <a:lvl3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3pPr>
            <a:lvl4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4pPr>
            <a:lvl5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5pPr>
            <a:lvl6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6pPr>
            <a:lvl7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7pPr>
            <a:lvl8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8pPr>
            <a:lvl9pPr marL="0" indent="0" algn="l">
              <a:lnSpc>
                <a:spcPct val="80000"/>
              </a:lnSpc>
              <a:spcBef>
                <a:spcPts val="0"/>
              </a:spcBef>
              <a:buFontTx/>
              <a:buNone/>
              <a:defRPr sz="7200" b="0" spc="0" baseline="0">
                <a:solidFill>
                  <a:srgbClr val="8B86B3"/>
                </a:solidFill>
                <a:latin typeface="+mj-lt"/>
              </a:defRPr>
            </a:lvl9pPr>
          </a:lstStyle>
          <a:p>
            <a:pPr lvl="0"/>
            <a:r>
              <a:rPr lang="en-US"/>
              <a:t>0</a:t>
            </a:r>
          </a:p>
        </p:txBody>
      </p:sp>
      <p:sp>
        <p:nvSpPr>
          <p:cNvPr id="2" name="Title 2">
            <a:extLst>
              <a:ext uri="{FF2B5EF4-FFF2-40B4-BE49-F238E27FC236}">
                <a16:creationId xmlns:a16="http://schemas.microsoft.com/office/drawing/2014/main" id="{D641D334-3DBF-4D13-804B-67B29A3D48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520" y="2926080"/>
            <a:ext cx="8460581" cy="173736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4500" b="0">
                <a:solidFill>
                  <a:schemeClr val="tx1"/>
                </a:solidFill>
              </a:defRPr>
            </a:lvl1pPr>
          </a:lstStyle>
          <a:p>
            <a:r>
              <a:rPr lang="en-US"/>
              <a:t>[Section header title]</a:t>
            </a:r>
          </a:p>
        </p:txBody>
      </p:sp>
    </p:spTree>
    <p:extLst>
      <p:ext uri="{BB962C8B-B14F-4D97-AF65-F5344CB8AC3E}">
        <p14:creationId xmlns:p14="http://schemas.microsoft.com/office/powerpoint/2010/main" val="36277474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eaker Intr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41D334-3DBF-4D13-804B-67B29A3D48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520" y="1737358"/>
            <a:ext cx="5567363" cy="1828800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3300" b="1">
                <a:solidFill>
                  <a:schemeClr val="tx1"/>
                </a:solidFill>
              </a:defRPr>
            </a:lvl1pPr>
          </a:lstStyle>
          <a:p>
            <a:r>
              <a:rPr lang="en-US"/>
              <a:t>[Speaker intro subject title]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1B685121-0D7D-4F48-835F-6C4245E490B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0519" y="3931920"/>
            <a:ext cx="5567363" cy="914400"/>
          </a:xfrm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350" b="1"/>
            </a:lvl1pPr>
            <a:lvl2pPr marL="0" indent="0">
              <a:spcBef>
                <a:spcPts val="0"/>
              </a:spcBef>
              <a:buFontTx/>
              <a:buNone/>
              <a:defRPr sz="1350"/>
            </a:lvl2pPr>
            <a:lvl3pPr marL="171450" indent="-171450">
              <a:spcBef>
                <a:spcPts val="900"/>
              </a:spcBef>
              <a:buFont typeface="Arial" panose="020B0604020202020204" pitchFamily="34" charset="0"/>
              <a:buChar char="•"/>
              <a:defRPr/>
            </a:lvl3pPr>
            <a:lvl4pPr marL="342900">
              <a:defRPr/>
            </a:lvl4pPr>
            <a:lvl5pPr marL="514350" indent="-171450">
              <a:buFont typeface="Arial" panose="020B0604020202020204" pitchFamily="34" charset="0"/>
              <a:buChar char="»"/>
              <a:defRPr/>
            </a:lvl5pPr>
            <a:lvl6pPr marL="685800" indent="-171450">
              <a:buFont typeface="Arial" panose="020B0604020202020204" pitchFamily="34" charset="0"/>
              <a:buChar char="–"/>
              <a:defRPr/>
            </a:lvl6pPr>
            <a:lvl7pPr marL="857250" indent="-171450">
              <a:buFont typeface="Arial" panose="020B0604020202020204" pitchFamily="34" charset="0"/>
              <a:buChar char="–"/>
              <a:defRPr/>
            </a:lvl7pPr>
            <a:lvl8pPr marL="1028700" indent="-171450">
              <a:buFont typeface="Arial" panose="020B0604020202020204" pitchFamily="34" charset="0"/>
              <a:buChar char="–"/>
              <a:defRPr/>
            </a:lvl8pPr>
            <a:lvl9pPr marL="1200150" indent="-171450">
              <a:buFont typeface="Arial" panose="020B0604020202020204" pitchFamily="34" charset="0"/>
              <a:buChar char="–"/>
              <a:defRPr/>
            </a:lvl9pPr>
          </a:lstStyle>
          <a:p>
            <a:pPr lvl="0"/>
            <a:r>
              <a:rPr lang="en-US"/>
              <a:t>[Speaker Name]</a:t>
            </a:r>
          </a:p>
          <a:p>
            <a:pPr lvl="1"/>
            <a:r>
              <a:rPr lang="en-US"/>
              <a:t>[Speaker Title]</a:t>
            </a:r>
          </a:p>
        </p:txBody>
      </p:sp>
    </p:spTree>
    <p:extLst>
      <p:ext uri="{BB962C8B-B14F-4D97-AF65-F5344CB8AC3E}">
        <p14:creationId xmlns:p14="http://schemas.microsoft.com/office/powerpoint/2010/main" val="4017051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F331AC2-8E74-B243-8FDB-48E8D9AFE7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B847E393-D3B7-8747-BD90-FFF722B7FC5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1" y="1737360"/>
            <a:ext cx="7012781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72690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722C30B5-3792-4E4B-A88E-9EB993E202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DA05FDA-F191-8E4B-9D3F-39F03BD735B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0" y="1737360"/>
            <a:ext cx="4114800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1B7D16F-A467-AD46-BFD4-6949827D3F43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686300" y="1737360"/>
            <a:ext cx="4112514" cy="44805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4053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92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52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image" Target="../media/image4.png"/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26" Type="http://schemas.openxmlformats.org/officeDocument/2006/relationships/slideLayout" Target="../slideLayouts/slideLayout78.xml"/><Relationship Id="rId3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73.xml"/><Relationship Id="rId34" Type="http://schemas.openxmlformats.org/officeDocument/2006/relationships/theme" Target="../theme/theme3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5" Type="http://schemas.openxmlformats.org/officeDocument/2006/relationships/slideLayout" Target="../slideLayouts/slideLayout77.xml"/><Relationship Id="rId33" Type="http://schemas.openxmlformats.org/officeDocument/2006/relationships/slideLayout" Target="../slideLayouts/slideLayout85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72.xml"/><Relationship Id="rId29" Type="http://schemas.openxmlformats.org/officeDocument/2006/relationships/slideLayout" Target="../slideLayouts/slideLayout81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slideLayout" Target="../slideLayouts/slideLayout76.xml"/><Relationship Id="rId32" Type="http://schemas.openxmlformats.org/officeDocument/2006/relationships/slideLayout" Target="../slideLayouts/slideLayout84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75.xml"/><Relationship Id="rId28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31" Type="http://schemas.openxmlformats.org/officeDocument/2006/relationships/slideLayout" Target="../slideLayouts/slideLayout83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74.xml"/><Relationship Id="rId27" Type="http://schemas.openxmlformats.org/officeDocument/2006/relationships/slideLayout" Target="../slideLayouts/slideLayout79.xml"/><Relationship Id="rId30" Type="http://schemas.openxmlformats.org/officeDocument/2006/relationships/slideLayout" Target="../slideLayouts/slideLayout82.xml"/><Relationship Id="rId8" Type="http://schemas.openxmlformats.org/officeDocument/2006/relationships/slideLayout" Target="../slideLayouts/slideLayout60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26" Type="http://schemas.openxmlformats.org/officeDocument/2006/relationships/slideLayout" Target="../slideLayouts/slideLayout111.xml"/><Relationship Id="rId39" Type="http://schemas.openxmlformats.org/officeDocument/2006/relationships/slideLayout" Target="../slideLayouts/slideLayout124.xml"/><Relationship Id="rId21" Type="http://schemas.openxmlformats.org/officeDocument/2006/relationships/slideLayout" Target="../slideLayouts/slideLayout106.xml"/><Relationship Id="rId34" Type="http://schemas.openxmlformats.org/officeDocument/2006/relationships/slideLayout" Target="../slideLayouts/slideLayout119.xml"/><Relationship Id="rId42" Type="http://schemas.openxmlformats.org/officeDocument/2006/relationships/slideLayout" Target="../slideLayouts/slideLayout127.xml"/><Relationship Id="rId47" Type="http://schemas.openxmlformats.org/officeDocument/2006/relationships/slideLayout" Target="../slideLayouts/slideLayout132.xml"/><Relationship Id="rId50" Type="http://schemas.openxmlformats.org/officeDocument/2006/relationships/theme" Target="../theme/theme4.xml"/><Relationship Id="rId7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9" Type="http://schemas.openxmlformats.org/officeDocument/2006/relationships/slideLayout" Target="../slideLayouts/slideLayout114.xml"/><Relationship Id="rId11" Type="http://schemas.openxmlformats.org/officeDocument/2006/relationships/slideLayout" Target="../slideLayouts/slideLayout96.xml"/><Relationship Id="rId24" Type="http://schemas.openxmlformats.org/officeDocument/2006/relationships/slideLayout" Target="../slideLayouts/slideLayout109.xml"/><Relationship Id="rId32" Type="http://schemas.openxmlformats.org/officeDocument/2006/relationships/slideLayout" Target="../slideLayouts/slideLayout117.xml"/><Relationship Id="rId37" Type="http://schemas.openxmlformats.org/officeDocument/2006/relationships/slideLayout" Target="../slideLayouts/slideLayout122.xml"/><Relationship Id="rId40" Type="http://schemas.openxmlformats.org/officeDocument/2006/relationships/slideLayout" Target="../slideLayouts/slideLayout125.xml"/><Relationship Id="rId45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23" Type="http://schemas.openxmlformats.org/officeDocument/2006/relationships/slideLayout" Target="../slideLayouts/slideLayout108.xml"/><Relationship Id="rId28" Type="http://schemas.openxmlformats.org/officeDocument/2006/relationships/slideLayout" Target="../slideLayouts/slideLayout113.xml"/><Relationship Id="rId36" Type="http://schemas.openxmlformats.org/officeDocument/2006/relationships/slideLayout" Target="../slideLayouts/slideLayout121.xml"/><Relationship Id="rId49" Type="http://schemas.openxmlformats.org/officeDocument/2006/relationships/slideLayout" Target="../slideLayouts/slideLayout134.xml"/><Relationship Id="rId10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04.xml"/><Relationship Id="rId31" Type="http://schemas.openxmlformats.org/officeDocument/2006/relationships/slideLayout" Target="../slideLayouts/slideLayout116.xml"/><Relationship Id="rId44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Relationship Id="rId22" Type="http://schemas.openxmlformats.org/officeDocument/2006/relationships/slideLayout" Target="../slideLayouts/slideLayout107.xml"/><Relationship Id="rId27" Type="http://schemas.openxmlformats.org/officeDocument/2006/relationships/slideLayout" Target="../slideLayouts/slideLayout112.xml"/><Relationship Id="rId30" Type="http://schemas.openxmlformats.org/officeDocument/2006/relationships/slideLayout" Target="../slideLayouts/slideLayout115.xml"/><Relationship Id="rId35" Type="http://schemas.openxmlformats.org/officeDocument/2006/relationships/slideLayout" Target="../slideLayouts/slideLayout120.xml"/><Relationship Id="rId43" Type="http://schemas.openxmlformats.org/officeDocument/2006/relationships/slideLayout" Target="../slideLayouts/slideLayout128.xml"/><Relationship Id="rId48" Type="http://schemas.openxmlformats.org/officeDocument/2006/relationships/slideLayout" Target="../slideLayouts/slideLayout133.xml"/><Relationship Id="rId8" Type="http://schemas.openxmlformats.org/officeDocument/2006/relationships/slideLayout" Target="../slideLayouts/slideLayout93.xml"/><Relationship Id="rId3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5" Type="http://schemas.openxmlformats.org/officeDocument/2006/relationships/slideLayout" Target="../slideLayouts/slideLayout110.xml"/><Relationship Id="rId33" Type="http://schemas.openxmlformats.org/officeDocument/2006/relationships/slideLayout" Target="../slideLayouts/slideLayout118.xml"/><Relationship Id="rId38" Type="http://schemas.openxmlformats.org/officeDocument/2006/relationships/slideLayout" Target="../slideLayouts/slideLayout123.xml"/><Relationship Id="rId46" Type="http://schemas.openxmlformats.org/officeDocument/2006/relationships/slideLayout" Target="../slideLayouts/slideLayout131.xml"/><Relationship Id="rId20" Type="http://schemas.openxmlformats.org/officeDocument/2006/relationships/slideLayout" Target="../slideLayouts/slideLayout105.xml"/><Relationship Id="rId41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7.xml"/><Relationship Id="rId18" Type="http://schemas.openxmlformats.org/officeDocument/2006/relationships/slideLayout" Target="../slideLayouts/slideLayout152.xml"/><Relationship Id="rId26" Type="http://schemas.openxmlformats.org/officeDocument/2006/relationships/slideLayout" Target="../slideLayouts/slideLayout160.xml"/><Relationship Id="rId21" Type="http://schemas.openxmlformats.org/officeDocument/2006/relationships/slideLayout" Target="../slideLayouts/slideLayout155.xml"/><Relationship Id="rId34" Type="http://schemas.openxmlformats.org/officeDocument/2006/relationships/slideLayout" Target="../slideLayouts/slideLayout168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slideLayout" Target="../slideLayouts/slideLayout151.xml"/><Relationship Id="rId25" Type="http://schemas.openxmlformats.org/officeDocument/2006/relationships/slideLayout" Target="../slideLayouts/slideLayout159.xml"/><Relationship Id="rId33" Type="http://schemas.openxmlformats.org/officeDocument/2006/relationships/slideLayout" Target="../slideLayouts/slideLayout167.xml"/><Relationship Id="rId2" Type="http://schemas.openxmlformats.org/officeDocument/2006/relationships/slideLayout" Target="../slideLayouts/slideLayout136.xml"/><Relationship Id="rId16" Type="http://schemas.openxmlformats.org/officeDocument/2006/relationships/slideLayout" Target="../slideLayouts/slideLayout150.xml"/><Relationship Id="rId20" Type="http://schemas.openxmlformats.org/officeDocument/2006/relationships/slideLayout" Target="../slideLayouts/slideLayout154.xml"/><Relationship Id="rId29" Type="http://schemas.openxmlformats.org/officeDocument/2006/relationships/slideLayout" Target="../slideLayouts/slideLayout163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24" Type="http://schemas.openxmlformats.org/officeDocument/2006/relationships/slideLayout" Target="../slideLayouts/slideLayout158.xml"/><Relationship Id="rId32" Type="http://schemas.openxmlformats.org/officeDocument/2006/relationships/slideLayout" Target="../slideLayouts/slideLayout166.xml"/><Relationship Id="rId37" Type="http://schemas.openxmlformats.org/officeDocument/2006/relationships/theme" Target="../theme/theme5.xml"/><Relationship Id="rId5" Type="http://schemas.openxmlformats.org/officeDocument/2006/relationships/slideLayout" Target="../slideLayouts/slideLayout139.xml"/><Relationship Id="rId15" Type="http://schemas.openxmlformats.org/officeDocument/2006/relationships/slideLayout" Target="../slideLayouts/slideLayout149.xml"/><Relationship Id="rId23" Type="http://schemas.openxmlformats.org/officeDocument/2006/relationships/slideLayout" Target="../slideLayouts/slideLayout157.xml"/><Relationship Id="rId28" Type="http://schemas.openxmlformats.org/officeDocument/2006/relationships/slideLayout" Target="../slideLayouts/slideLayout162.xml"/><Relationship Id="rId36" Type="http://schemas.openxmlformats.org/officeDocument/2006/relationships/slideLayout" Target="../slideLayouts/slideLayout170.xml"/><Relationship Id="rId10" Type="http://schemas.openxmlformats.org/officeDocument/2006/relationships/slideLayout" Target="../slideLayouts/slideLayout144.xml"/><Relationship Id="rId19" Type="http://schemas.openxmlformats.org/officeDocument/2006/relationships/slideLayout" Target="../slideLayouts/slideLayout153.xml"/><Relationship Id="rId31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Relationship Id="rId22" Type="http://schemas.openxmlformats.org/officeDocument/2006/relationships/slideLayout" Target="../slideLayouts/slideLayout156.xml"/><Relationship Id="rId27" Type="http://schemas.openxmlformats.org/officeDocument/2006/relationships/slideLayout" Target="../slideLayouts/slideLayout161.xml"/><Relationship Id="rId30" Type="http://schemas.openxmlformats.org/officeDocument/2006/relationships/slideLayout" Target="../slideLayouts/slideLayout164.xml"/><Relationship Id="rId35" Type="http://schemas.openxmlformats.org/officeDocument/2006/relationships/slideLayout" Target="../slideLayouts/slideLayout169.xml"/><Relationship Id="rId8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88872" y="99580"/>
            <a:ext cx="7759711" cy="93486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186249"/>
            <a:ext cx="7886700" cy="499071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28650" y="6336618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tescometering.com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EAC4C4-F0A7-4B61-A827-E4198D07826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6C796F7-BF61-443C-9DF2-0CFC9EBAAC23}"/>
              </a:ext>
            </a:extLst>
          </p:cNvPr>
          <p:cNvSpPr/>
          <p:nvPr userDrawn="1"/>
        </p:nvSpPr>
        <p:spPr>
          <a:xfrm>
            <a:off x="395417" y="861383"/>
            <a:ext cx="8353168" cy="4571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 descr="A red and black logo&#10;&#10;Description automatically generated">
            <a:extLst>
              <a:ext uri="{FF2B5EF4-FFF2-40B4-BE49-F238E27FC236}">
                <a16:creationId xmlns:a16="http://schemas.microsoft.com/office/drawing/2014/main" id="{AE2CF0B3-A287-11F2-1C2C-62AAA79364CC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804" y="145687"/>
            <a:ext cx="1135196" cy="692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449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2" r:id="rId10"/>
    <p:sldLayoutId id="2147483838" r:id="rId11"/>
  </p:sldLayoutIdLst>
  <p:hf hdr="0" dt="0"/>
  <p:txStyles>
    <p:titleStyle>
      <a:lvl1pPr algn="r" defTabSz="914400" rtl="0" eaLnBrk="1" latinLnBrk="0" hangingPunct="1">
        <a:lnSpc>
          <a:spcPct val="90000"/>
        </a:lnSpc>
        <a:spcBef>
          <a:spcPct val="0"/>
        </a:spcBef>
        <a:buNone/>
        <a:defRPr lang="en-US" sz="3600" kern="1200" cap="small" dirty="0" smtClean="0">
          <a:solidFill>
            <a:schemeClr val="accent6">
              <a:lumMod val="50000"/>
            </a:schemeClr>
          </a:solidFill>
          <a:effectLst>
            <a:outerShdw blurRad="50800" dist="38100" dir="10800000" algn="r" rotWithShape="0">
              <a:prstClr val="black">
                <a:alpha val="40000"/>
              </a:prstClr>
            </a:outerShdw>
          </a:effectLst>
          <a:latin typeface="Calibri" panose="020F050202020403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6D3E94B-F75A-43E2-84AB-FDF386CCE5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3" y="457200"/>
            <a:ext cx="7012781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[Slide title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54B348-3077-4F00-B031-9D2252B7D3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2900" y="1737360"/>
            <a:ext cx="8455914" cy="4480560"/>
          </a:xfrm>
          <a:prstGeom prst="rect">
            <a:avLst/>
          </a:prstGeom>
        </p:spPr>
        <p:txBody>
          <a:bodyPr vert="horz" lIns="0" tIns="0" rIns="0" bIns="0" spcCol="301752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Legal">
            <a:extLst>
              <a:ext uri="{FF2B5EF4-FFF2-40B4-BE49-F238E27FC236}">
                <a16:creationId xmlns:a16="http://schemas.microsoft.com/office/drawing/2014/main" id="{98900E19-AB1E-2948-B9FE-FEBFD6353C55}"/>
              </a:ext>
            </a:extLst>
          </p:cNvPr>
          <p:cNvSpPr txBox="1"/>
          <p:nvPr userDrawn="1"/>
        </p:nvSpPr>
        <p:spPr>
          <a:xfrm>
            <a:off x="340519" y="6400800"/>
            <a:ext cx="4114800" cy="182880"/>
          </a:xfrm>
          <a:prstGeom prst="rect">
            <a:avLst/>
          </a:prstGeom>
          <a:noFill/>
        </p:spPr>
        <p:txBody>
          <a:bodyPr wrap="square" lIns="0" tIns="0" rIns="0" bIns="3858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338"/>
              <a:t>Privileged and Confidential – Prepared at the Request of Counsel / Attorney Work Product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FBBA5E15-AB8F-DA4F-A95E-1812EC7C54FC}"/>
              </a:ext>
            </a:extLst>
          </p:cNvPr>
          <p:cNvSpPr txBox="1">
            <a:spLocks/>
          </p:cNvSpPr>
          <p:nvPr userDrawn="1"/>
        </p:nvSpPr>
        <p:spPr>
          <a:xfrm>
            <a:off x="8524494" y="6400800"/>
            <a:ext cx="27432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1F0F7B7B-BA00-46D4-A2CF-7362C4C0234F}" type="slidenum">
              <a:rPr lang="en-US" sz="464" b="0" smtClean="0"/>
              <a:t>‹#›</a:t>
            </a:fld>
            <a:endParaRPr lang="en-US" sz="464" b="0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6007341A-E7B0-4D98-B0EA-8D744AE1D75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5683" y="6393828"/>
            <a:ext cx="1192166" cy="425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47230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  <p:sldLayoutId id="2147483699" r:id="rId26"/>
    <p:sldLayoutId id="2147483700" r:id="rId27"/>
    <p:sldLayoutId id="2147483701" r:id="rId28"/>
    <p:sldLayoutId id="2147483702" r:id="rId29"/>
    <p:sldLayoutId id="2147483703" r:id="rId30"/>
    <p:sldLayoutId id="2147483704" r:id="rId31"/>
    <p:sldLayoutId id="2147483705" r:id="rId32"/>
    <p:sldLayoutId id="2147483706" r:id="rId33"/>
    <p:sldLayoutId id="2147483707" r:id="rId34"/>
    <p:sldLayoutId id="2147483708" r:id="rId35"/>
    <p:sldLayoutId id="2147483709" r:id="rId36"/>
    <p:sldLayoutId id="2147483710" r:id="rId37"/>
    <p:sldLayoutId id="2147483711" r:id="rId38"/>
    <p:sldLayoutId id="2147483712" r:id="rId39"/>
    <p:sldLayoutId id="2147483716" r:id="rId40"/>
    <p:sldLayoutId id="2147483717" r:id="rId4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289322" rtl="0" eaLnBrk="1" latinLnBrk="0" hangingPunct="1">
        <a:lnSpc>
          <a:spcPct val="90000"/>
        </a:lnSpc>
        <a:spcBef>
          <a:spcPct val="0"/>
        </a:spcBef>
        <a:buNone/>
        <a:defRPr sz="135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6441" indent="-96441" algn="l" defTabSz="289322" rtl="0" eaLnBrk="1" latinLnBrk="0" hangingPunct="1">
        <a:lnSpc>
          <a:spcPct val="110000"/>
        </a:lnSpc>
        <a:spcBef>
          <a:spcPts val="506"/>
        </a:spcBef>
        <a:buClrTx/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1pPr>
      <a:lvl2pPr marL="192881" indent="-96441" algn="l" defTabSz="289322" rtl="0" eaLnBrk="1" latinLnBrk="0" hangingPunct="1">
        <a:lnSpc>
          <a:spcPct val="110000"/>
        </a:lnSpc>
        <a:spcBef>
          <a:spcPts val="127"/>
        </a:spcBef>
        <a:buClrTx/>
        <a:buFont typeface="Arial" panose="020B0604020202020204" pitchFamily="34" charset="0"/>
        <a:buChar char="–"/>
        <a:defRPr sz="675" kern="1200">
          <a:solidFill>
            <a:schemeClr val="tx1"/>
          </a:solidFill>
          <a:latin typeface="+mn-lt"/>
          <a:ea typeface="+mn-ea"/>
          <a:cs typeface="+mn-cs"/>
        </a:defRPr>
      </a:lvl2pPr>
      <a:lvl3pPr marL="289322" indent="-96441" algn="l" defTabSz="289322" rtl="0" eaLnBrk="1" latinLnBrk="0" hangingPunct="1">
        <a:lnSpc>
          <a:spcPct val="110000"/>
        </a:lnSpc>
        <a:spcBef>
          <a:spcPts val="127"/>
        </a:spcBef>
        <a:buClrTx/>
        <a:buFont typeface="Arial" panose="020B0604020202020204" pitchFamily="34" charset="0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3pPr>
      <a:lvl4pPr marL="385763" indent="-96441" algn="l" defTabSz="289322" rtl="0" eaLnBrk="1" latinLnBrk="0" hangingPunct="1">
        <a:lnSpc>
          <a:spcPct val="110000"/>
        </a:lnSpc>
        <a:spcBef>
          <a:spcPts val="127"/>
        </a:spcBef>
        <a:buClrTx/>
        <a:buFont typeface="Arial" panose="020B0604020202020204" pitchFamily="34" charset="0"/>
        <a:buChar char="–"/>
        <a:defRPr sz="675" kern="1200">
          <a:solidFill>
            <a:schemeClr val="tx1"/>
          </a:solidFill>
          <a:latin typeface="+mn-lt"/>
          <a:ea typeface="+mn-ea"/>
          <a:cs typeface="+mn-cs"/>
        </a:defRPr>
      </a:lvl4pPr>
      <a:lvl5pPr marL="482204" indent="-96441" algn="l" defTabSz="289322" rtl="0" eaLnBrk="1" latinLnBrk="0" hangingPunct="1">
        <a:lnSpc>
          <a:spcPct val="110000"/>
        </a:lnSpc>
        <a:spcBef>
          <a:spcPts val="127"/>
        </a:spcBef>
        <a:buClrTx/>
        <a:buFont typeface="Arial" panose="020B0604020202020204" pitchFamily="34" charset="0"/>
        <a:buChar char="»"/>
        <a:defRPr sz="675" kern="1200">
          <a:solidFill>
            <a:schemeClr val="tx1"/>
          </a:solidFill>
          <a:latin typeface="+mn-lt"/>
          <a:ea typeface="+mn-ea"/>
          <a:cs typeface="+mn-cs"/>
        </a:defRPr>
      </a:lvl5pPr>
      <a:lvl6pPr marL="578644" indent="-96441" algn="l" defTabSz="289322" rtl="0" eaLnBrk="1" latinLnBrk="0" hangingPunct="1">
        <a:lnSpc>
          <a:spcPct val="110000"/>
        </a:lnSpc>
        <a:spcBef>
          <a:spcPts val="127"/>
        </a:spcBef>
        <a:buClrTx/>
        <a:buFont typeface="Arial" panose="020B0604020202020204" pitchFamily="34" charset="0"/>
        <a:buChar char="–"/>
        <a:defRPr sz="675" kern="1200">
          <a:solidFill>
            <a:schemeClr val="tx1"/>
          </a:solidFill>
          <a:latin typeface="+mn-lt"/>
          <a:ea typeface="+mn-ea"/>
          <a:cs typeface="+mn-cs"/>
        </a:defRPr>
      </a:lvl6pPr>
      <a:lvl7pPr marL="675085" indent="-96441" algn="l" defTabSz="289322" rtl="0" eaLnBrk="1" latinLnBrk="0" hangingPunct="1">
        <a:lnSpc>
          <a:spcPct val="110000"/>
        </a:lnSpc>
        <a:spcBef>
          <a:spcPts val="127"/>
        </a:spcBef>
        <a:buClrTx/>
        <a:buFont typeface="Arial" panose="020B0604020202020204" pitchFamily="34" charset="0"/>
        <a:buChar char="–"/>
        <a:defRPr sz="675" kern="1200">
          <a:solidFill>
            <a:schemeClr val="tx1"/>
          </a:solidFill>
          <a:latin typeface="+mn-lt"/>
          <a:ea typeface="+mn-ea"/>
          <a:cs typeface="+mn-cs"/>
        </a:defRPr>
      </a:lvl7pPr>
      <a:lvl8pPr marL="771525" indent="-96441" algn="l" defTabSz="289322" rtl="0" eaLnBrk="1" latinLnBrk="0" hangingPunct="1">
        <a:lnSpc>
          <a:spcPct val="110000"/>
        </a:lnSpc>
        <a:spcBef>
          <a:spcPts val="127"/>
        </a:spcBef>
        <a:buClrTx/>
        <a:buFont typeface="Arial" panose="020B0604020202020204" pitchFamily="34" charset="0"/>
        <a:buChar char="–"/>
        <a:defRPr sz="675" kern="1200">
          <a:solidFill>
            <a:schemeClr val="tx1"/>
          </a:solidFill>
          <a:latin typeface="+mn-lt"/>
          <a:ea typeface="+mn-ea"/>
          <a:cs typeface="+mn-cs"/>
        </a:defRPr>
      </a:lvl8pPr>
      <a:lvl9pPr marL="867966" indent="-96441" algn="l" defTabSz="289322" rtl="0" eaLnBrk="1" latinLnBrk="0" hangingPunct="1">
        <a:lnSpc>
          <a:spcPct val="110000"/>
        </a:lnSpc>
        <a:spcBef>
          <a:spcPts val="127"/>
        </a:spcBef>
        <a:buClrTx/>
        <a:buFont typeface="Arial" panose="020B0604020202020204" pitchFamily="34" charset="0"/>
        <a:buChar char="–"/>
        <a:defRPr sz="6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89322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1pPr>
      <a:lvl2pPr marL="144661" algn="l" defTabSz="289322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2pPr>
      <a:lvl3pPr marL="289322" algn="l" defTabSz="289322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3pPr>
      <a:lvl4pPr marL="433983" algn="l" defTabSz="289322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4pPr>
      <a:lvl5pPr marL="578644" algn="l" defTabSz="289322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5pPr>
      <a:lvl6pPr marL="723305" algn="l" defTabSz="289322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6pPr>
      <a:lvl7pPr marL="867966" algn="l" defTabSz="289322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7pPr>
      <a:lvl8pPr marL="1012627" algn="l" defTabSz="289322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8pPr>
      <a:lvl9pPr marL="1157288" algn="l" defTabSz="289322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1">
          <p15:clr>
            <a:srgbClr val="F26B43"/>
          </p15:clr>
        </p15:guide>
        <p15:guide id="2" pos="9856">
          <p15:clr>
            <a:srgbClr val="F26B43"/>
          </p15:clr>
        </p15:guide>
        <p15:guide id="5" orient="horz" pos="286">
          <p15:clr>
            <a:srgbClr val="F26B43"/>
          </p15:clr>
        </p15:guide>
        <p15:guide id="6" orient="horz" pos="3918">
          <p15:clr>
            <a:srgbClr val="F26B43"/>
          </p15:clr>
        </p15:guide>
        <p15:guide id="8" pos="1752">
          <p15:clr>
            <a:srgbClr val="5ACBF0"/>
          </p15:clr>
        </p15:guide>
        <p15:guide id="9" pos="2005">
          <p15:clr>
            <a:srgbClr val="5ACBF0"/>
          </p15:clr>
        </p15:guide>
        <p15:guide id="10" pos="3371">
          <p15:clr>
            <a:srgbClr val="5ACBF0"/>
          </p15:clr>
        </p15:guide>
        <p15:guide id="11" pos="3627">
          <p15:clr>
            <a:srgbClr val="5ACBF0"/>
          </p15:clr>
        </p15:guide>
        <p15:guide id="12" pos="4992">
          <p15:clr>
            <a:srgbClr val="5ACBF0"/>
          </p15:clr>
        </p15:guide>
        <p15:guide id="13" pos="5248">
          <p15:clr>
            <a:srgbClr val="5ACBF0"/>
          </p15:clr>
        </p15:guide>
        <p15:guide id="14" pos="6616">
          <p15:clr>
            <a:srgbClr val="5ACBF0"/>
          </p15:clr>
        </p15:guide>
        <p15:guide id="15" pos="6872">
          <p15:clr>
            <a:srgbClr val="5ACBF0"/>
          </p15:clr>
        </p15:guide>
        <p15:guide id="16" pos="8237">
          <p15:clr>
            <a:srgbClr val="5ACBF0"/>
          </p15:clr>
        </p15:guide>
        <p15:guide id="17" pos="8493">
          <p15:clr>
            <a:srgbClr val="5ACBF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6D3E94B-F75A-43E2-84AB-FDF386CCE5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457200"/>
            <a:ext cx="7012781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[Slide title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54B348-3077-4F00-B031-9D2252B7D3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2900" y="1737360"/>
            <a:ext cx="8455914" cy="4480560"/>
          </a:xfrm>
          <a:prstGeom prst="rect">
            <a:avLst/>
          </a:prstGeom>
        </p:spPr>
        <p:txBody>
          <a:bodyPr vert="horz" lIns="0" tIns="0" rIns="0" bIns="0" spcCol="301752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Legal">
            <a:extLst>
              <a:ext uri="{FF2B5EF4-FFF2-40B4-BE49-F238E27FC236}">
                <a16:creationId xmlns:a16="http://schemas.microsoft.com/office/drawing/2014/main" id="{98900E19-AB1E-2948-B9FE-FEBFD6353C55}"/>
              </a:ext>
            </a:extLst>
          </p:cNvPr>
          <p:cNvSpPr txBox="1"/>
          <p:nvPr userDrawn="1"/>
        </p:nvSpPr>
        <p:spPr>
          <a:xfrm>
            <a:off x="342900" y="6400800"/>
            <a:ext cx="4114800" cy="182880"/>
          </a:xfrm>
          <a:prstGeom prst="rect">
            <a:avLst/>
          </a:prstGeom>
          <a:noFill/>
        </p:spPr>
        <p:txBody>
          <a:bodyPr wrap="square" lIns="0" tIns="0" rIns="0" bIns="6858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600" dirty="0"/>
              <a:t>Privileged and Confidential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FBBA5E15-AB8F-DA4F-A95E-1812EC7C54FC}"/>
              </a:ext>
            </a:extLst>
          </p:cNvPr>
          <p:cNvSpPr txBox="1">
            <a:spLocks/>
          </p:cNvSpPr>
          <p:nvPr userDrawn="1"/>
        </p:nvSpPr>
        <p:spPr>
          <a:xfrm>
            <a:off x="8524494" y="6400800"/>
            <a:ext cx="27432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C0C6C74-4AFF-2A4A-A6FE-0095C289532F}" type="slidenum">
              <a:rPr lang="en-US" sz="825" b="0" smtClean="0"/>
              <a:pPr/>
              <a:t>‹#›</a:t>
            </a:fld>
            <a:endParaRPr lang="en-US" sz="825" b="0" dirty="0"/>
          </a:p>
        </p:txBody>
      </p:sp>
    </p:spTree>
    <p:extLst>
      <p:ext uri="{BB962C8B-B14F-4D97-AF65-F5344CB8AC3E}">
        <p14:creationId xmlns:p14="http://schemas.microsoft.com/office/powerpoint/2010/main" val="3546720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  <p:sldLayoutId id="2147483740" r:id="rId22"/>
    <p:sldLayoutId id="2147483741" r:id="rId23"/>
    <p:sldLayoutId id="2147483742" r:id="rId24"/>
    <p:sldLayoutId id="2147483743" r:id="rId25"/>
    <p:sldLayoutId id="2147483744" r:id="rId26"/>
    <p:sldLayoutId id="2147483745" r:id="rId27"/>
    <p:sldLayoutId id="2147483746" r:id="rId28"/>
    <p:sldLayoutId id="2147483747" r:id="rId29"/>
    <p:sldLayoutId id="2147483748" r:id="rId30"/>
    <p:sldLayoutId id="2147483749" r:id="rId31"/>
    <p:sldLayoutId id="2147483750" r:id="rId32"/>
    <p:sldLayoutId id="2147483751" r:id="rId3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51435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514350" rtl="0" eaLnBrk="1" latinLnBrk="0" hangingPunct="1">
        <a:lnSpc>
          <a:spcPct val="110000"/>
        </a:lnSpc>
        <a:spcBef>
          <a:spcPts val="9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71450" algn="l" defTabSz="514350" rtl="0" eaLnBrk="1" latinLnBrk="0" hangingPunct="1">
        <a:lnSpc>
          <a:spcPct val="110000"/>
        </a:lnSpc>
        <a:spcBef>
          <a:spcPts val="225"/>
        </a:spcBef>
        <a:buClrTx/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indent="-171450" algn="l" defTabSz="514350" rtl="0" eaLnBrk="1" latinLnBrk="0" hangingPunct="1">
        <a:lnSpc>
          <a:spcPct val="110000"/>
        </a:lnSpc>
        <a:spcBef>
          <a:spcPts val="225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171450" algn="l" defTabSz="514350" rtl="0" eaLnBrk="1" latinLnBrk="0" hangingPunct="1">
        <a:lnSpc>
          <a:spcPct val="110000"/>
        </a:lnSpc>
        <a:spcBef>
          <a:spcPts val="225"/>
        </a:spcBef>
        <a:buClrTx/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1450" algn="l" defTabSz="514350" rtl="0" eaLnBrk="1" latinLnBrk="0" hangingPunct="1">
        <a:lnSpc>
          <a:spcPct val="110000"/>
        </a:lnSpc>
        <a:spcBef>
          <a:spcPts val="225"/>
        </a:spcBef>
        <a:buClrTx/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700" indent="-171450" algn="l" defTabSz="514350" rtl="0" eaLnBrk="1" latinLnBrk="0" hangingPunct="1">
        <a:lnSpc>
          <a:spcPct val="110000"/>
        </a:lnSpc>
        <a:spcBef>
          <a:spcPts val="225"/>
        </a:spcBef>
        <a:buClrTx/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200150" indent="-171450" algn="l" defTabSz="514350" rtl="0" eaLnBrk="1" latinLnBrk="0" hangingPunct="1">
        <a:lnSpc>
          <a:spcPct val="110000"/>
        </a:lnSpc>
        <a:spcBef>
          <a:spcPts val="225"/>
        </a:spcBef>
        <a:buClrTx/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71450" algn="l" defTabSz="514350" rtl="0" eaLnBrk="1" latinLnBrk="0" hangingPunct="1">
        <a:lnSpc>
          <a:spcPct val="110000"/>
        </a:lnSpc>
        <a:spcBef>
          <a:spcPts val="225"/>
        </a:spcBef>
        <a:buClrTx/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43050" indent="-171450" algn="l" defTabSz="514350" rtl="0" eaLnBrk="1" latinLnBrk="0" hangingPunct="1">
        <a:lnSpc>
          <a:spcPct val="110000"/>
        </a:lnSpc>
        <a:spcBef>
          <a:spcPts val="225"/>
        </a:spcBef>
        <a:buClrTx/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6">
          <p15:clr>
            <a:srgbClr val="F26B43"/>
          </p15:clr>
        </p15:guide>
        <p15:guide id="2" pos="7392">
          <p15:clr>
            <a:srgbClr val="F26B43"/>
          </p15:clr>
        </p15:guide>
        <p15:guide id="5" orient="horz" pos="286">
          <p15:clr>
            <a:srgbClr val="F26B43"/>
          </p15:clr>
        </p15:guide>
        <p15:guide id="6" orient="horz" pos="3918">
          <p15:clr>
            <a:srgbClr val="F26B43"/>
          </p15:clr>
        </p15:guide>
        <p15:guide id="8" pos="1314">
          <p15:clr>
            <a:srgbClr val="5ACBF0"/>
          </p15:clr>
        </p15:guide>
        <p15:guide id="9" pos="1504">
          <p15:clr>
            <a:srgbClr val="5ACBF0"/>
          </p15:clr>
        </p15:guide>
        <p15:guide id="10" pos="2528">
          <p15:clr>
            <a:srgbClr val="5ACBF0"/>
          </p15:clr>
        </p15:guide>
        <p15:guide id="11" pos="2720">
          <p15:clr>
            <a:srgbClr val="5ACBF0"/>
          </p15:clr>
        </p15:guide>
        <p15:guide id="12" pos="3744">
          <p15:clr>
            <a:srgbClr val="5ACBF0"/>
          </p15:clr>
        </p15:guide>
        <p15:guide id="13" pos="3936">
          <p15:clr>
            <a:srgbClr val="5ACBF0"/>
          </p15:clr>
        </p15:guide>
        <p15:guide id="14" pos="4962">
          <p15:clr>
            <a:srgbClr val="5ACBF0"/>
          </p15:clr>
        </p15:guide>
        <p15:guide id="15" pos="5154">
          <p15:clr>
            <a:srgbClr val="5ACBF0"/>
          </p15:clr>
        </p15:guide>
        <p15:guide id="16" pos="6178">
          <p15:clr>
            <a:srgbClr val="5ACBF0"/>
          </p15:clr>
        </p15:guide>
        <p15:guide id="17" pos="6370">
          <p15:clr>
            <a:srgbClr val="5ACBF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6D3E94B-F75A-43E2-84AB-FDF386CCE5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457200"/>
            <a:ext cx="7012781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[Slide title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54B348-3077-4F00-B031-9D2252B7D3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2900" y="1737360"/>
            <a:ext cx="8455914" cy="4480560"/>
          </a:xfrm>
          <a:prstGeom prst="rect">
            <a:avLst/>
          </a:prstGeom>
        </p:spPr>
        <p:txBody>
          <a:bodyPr vert="horz" lIns="0" tIns="0" rIns="0" bIns="0" spcCol="301752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Legal">
            <a:extLst>
              <a:ext uri="{FF2B5EF4-FFF2-40B4-BE49-F238E27FC236}">
                <a16:creationId xmlns:a16="http://schemas.microsoft.com/office/drawing/2014/main" id="{98900E19-AB1E-2948-B9FE-FEBFD6353C55}"/>
              </a:ext>
            </a:extLst>
          </p:cNvPr>
          <p:cNvSpPr txBox="1"/>
          <p:nvPr userDrawn="1"/>
        </p:nvSpPr>
        <p:spPr>
          <a:xfrm>
            <a:off x="342900" y="6400800"/>
            <a:ext cx="4114800" cy="182880"/>
          </a:xfrm>
          <a:prstGeom prst="rect">
            <a:avLst/>
          </a:prstGeom>
          <a:noFill/>
        </p:spPr>
        <p:txBody>
          <a:bodyPr wrap="square" lIns="0" tIns="0" rIns="0" bIns="6858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600" dirty="0"/>
              <a:t>Privileged and Confidential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FBBA5E15-AB8F-DA4F-A95E-1812EC7C54FC}"/>
              </a:ext>
            </a:extLst>
          </p:cNvPr>
          <p:cNvSpPr txBox="1">
            <a:spLocks/>
          </p:cNvSpPr>
          <p:nvPr userDrawn="1"/>
        </p:nvSpPr>
        <p:spPr>
          <a:xfrm>
            <a:off x="8524494" y="6400800"/>
            <a:ext cx="27432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C0C6C74-4AFF-2A4A-A6FE-0095C289532F}" type="slidenum">
              <a:rPr lang="en-US" sz="825" b="0" smtClean="0"/>
              <a:pPr/>
              <a:t>‹#›</a:t>
            </a:fld>
            <a:endParaRPr lang="en-US" sz="825" b="0"/>
          </a:p>
        </p:txBody>
      </p:sp>
    </p:spTree>
    <p:extLst>
      <p:ext uri="{BB962C8B-B14F-4D97-AF65-F5344CB8AC3E}">
        <p14:creationId xmlns:p14="http://schemas.microsoft.com/office/powerpoint/2010/main" val="1589722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55" r:id="rId3"/>
    <p:sldLayoutId id="2147483756" r:id="rId4"/>
    <p:sldLayoutId id="2147483757" r:id="rId5"/>
    <p:sldLayoutId id="2147483758" r:id="rId6"/>
    <p:sldLayoutId id="2147483759" r:id="rId7"/>
    <p:sldLayoutId id="2147483760" r:id="rId8"/>
    <p:sldLayoutId id="2147483761" r:id="rId9"/>
    <p:sldLayoutId id="2147483762" r:id="rId10"/>
    <p:sldLayoutId id="2147483763" r:id="rId11"/>
    <p:sldLayoutId id="2147483764" r:id="rId12"/>
    <p:sldLayoutId id="2147483765" r:id="rId13"/>
    <p:sldLayoutId id="2147483766" r:id="rId14"/>
    <p:sldLayoutId id="2147483767" r:id="rId15"/>
    <p:sldLayoutId id="2147483768" r:id="rId16"/>
    <p:sldLayoutId id="2147483769" r:id="rId17"/>
    <p:sldLayoutId id="2147483770" r:id="rId18"/>
    <p:sldLayoutId id="2147483771" r:id="rId19"/>
    <p:sldLayoutId id="2147483772" r:id="rId20"/>
    <p:sldLayoutId id="2147483773" r:id="rId21"/>
    <p:sldLayoutId id="2147483774" r:id="rId22"/>
    <p:sldLayoutId id="2147483775" r:id="rId23"/>
    <p:sldLayoutId id="2147483776" r:id="rId24"/>
    <p:sldLayoutId id="2147483777" r:id="rId25"/>
    <p:sldLayoutId id="2147483778" r:id="rId26"/>
    <p:sldLayoutId id="2147483779" r:id="rId27"/>
    <p:sldLayoutId id="2147483780" r:id="rId28"/>
    <p:sldLayoutId id="2147483781" r:id="rId29"/>
    <p:sldLayoutId id="2147483782" r:id="rId30"/>
    <p:sldLayoutId id="2147483783" r:id="rId31"/>
    <p:sldLayoutId id="2147483784" r:id="rId32"/>
    <p:sldLayoutId id="2147483785" r:id="rId33"/>
    <p:sldLayoutId id="2147483786" r:id="rId34"/>
    <p:sldLayoutId id="2147483787" r:id="rId35"/>
    <p:sldLayoutId id="2147483788" r:id="rId36"/>
    <p:sldLayoutId id="2147483789" r:id="rId37"/>
    <p:sldLayoutId id="2147483790" r:id="rId38"/>
    <p:sldLayoutId id="2147483791" r:id="rId39"/>
    <p:sldLayoutId id="2147483792" r:id="rId40"/>
    <p:sldLayoutId id="2147483793" r:id="rId41"/>
    <p:sldLayoutId id="2147483794" r:id="rId42"/>
    <p:sldLayoutId id="2147483795" r:id="rId43"/>
    <p:sldLayoutId id="2147483796" r:id="rId44"/>
    <p:sldLayoutId id="2147483797" r:id="rId45"/>
    <p:sldLayoutId id="2147483798" r:id="rId46"/>
    <p:sldLayoutId id="2147483799" r:id="rId47"/>
    <p:sldLayoutId id="2147483800" r:id="rId48"/>
    <p:sldLayoutId id="2147483801" r:id="rId4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51435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514350" rtl="0" eaLnBrk="1" latinLnBrk="0" hangingPunct="1">
        <a:lnSpc>
          <a:spcPct val="110000"/>
        </a:lnSpc>
        <a:spcBef>
          <a:spcPts val="900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71450" algn="l" defTabSz="514350" rtl="0" eaLnBrk="1" latinLnBrk="0" hangingPunct="1">
        <a:lnSpc>
          <a:spcPct val="110000"/>
        </a:lnSpc>
        <a:spcBef>
          <a:spcPts val="225"/>
        </a:spcBef>
        <a:buClrTx/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indent="-171450" algn="l" defTabSz="514350" rtl="0" eaLnBrk="1" latinLnBrk="0" hangingPunct="1">
        <a:lnSpc>
          <a:spcPct val="110000"/>
        </a:lnSpc>
        <a:spcBef>
          <a:spcPts val="225"/>
        </a:spcBef>
        <a:buClrTx/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5800" indent="-171450" algn="l" defTabSz="514350" rtl="0" eaLnBrk="1" latinLnBrk="0" hangingPunct="1">
        <a:lnSpc>
          <a:spcPct val="110000"/>
        </a:lnSpc>
        <a:spcBef>
          <a:spcPts val="225"/>
        </a:spcBef>
        <a:buClrTx/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1450" algn="l" defTabSz="514350" rtl="0" eaLnBrk="1" latinLnBrk="0" hangingPunct="1">
        <a:lnSpc>
          <a:spcPct val="110000"/>
        </a:lnSpc>
        <a:spcBef>
          <a:spcPts val="225"/>
        </a:spcBef>
        <a:buClrTx/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028700" indent="-171450" algn="l" defTabSz="514350" rtl="0" eaLnBrk="1" latinLnBrk="0" hangingPunct="1">
        <a:lnSpc>
          <a:spcPct val="110000"/>
        </a:lnSpc>
        <a:spcBef>
          <a:spcPts val="225"/>
        </a:spcBef>
        <a:buClrTx/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200150" indent="-171450" algn="l" defTabSz="514350" rtl="0" eaLnBrk="1" latinLnBrk="0" hangingPunct="1">
        <a:lnSpc>
          <a:spcPct val="110000"/>
        </a:lnSpc>
        <a:spcBef>
          <a:spcPts val="225"/>
        </a:spcBef>
        <a:buClrTx/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371600" indent="-171450" algn="l" defTabSz="514350" rtl="0" eaLnBrk="1" latinLnBrk="0" hangingPunct="1">
        <a:lnSpc>
          <a:spcPct val="110000"/>
        </a:lnSpc>
        <a:spcBef>
          <a:spcPts val="225"/>
        </a:spcBef>
        <a:buClrTx/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1543050" indent="-171450" algn="l" defTabSz="514350" rtl="0" eaLnBrk="1" latinLnBrk="0" hangingPunct="1">
        <a:lnSpc>
          <a:spcPct val="110000"/>
        </a:lnSpc>
        <a:spcBef>
          <a:spcPts val="225"/>
        </a:spcBef>
        <a:buClrTx/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5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7">
          <p15:clr>
            <a:srgbClr val="F26B43"/>
          </p15:clr>
        </p15:guide>
        <p15:guide id="2" pos="7392">
          <p15:clr>
            <a:srgbClr val="F26B43"/>
          </p15:clr>
        </p15:guide>
        <p15:guide id="5" orient="horz" pos="286">
          <p15:clr>
            <a:srgbClr val="F26B43"/>
          </p15:clr>
        </p15:guide>
        <p15:guide id="6" orient="horz" pos="3918">
          <p15:clr>
            <a:srgbClr val="F26B43"/>
          </p15:clr>
        </p15:guide>
        <p15:guide id="8" pos="1315">
          <p15:clr>
            <a:srgbClr val="5ACBF0"/>
          </p15:clr>
        </p15:guide>
        <p15:guide id="9" pos="1504">
          <p15:clr>
            <a:srgbClr val="5ACBF0"/>
          </p15:clr>
        </p15:guide>
        <p15:guide id="10" pos="2528">
          <p15:clr>
            <a:srgbClr val="5ACBF0"/>
          </p15:clr>
        </p15:guide>
        <p15:guide id="11" pos="2720">
          <p15:clr>
            <a:srgbClr val="5ACBF0"/>
          </p15:clr>
        </p15:guide>
        <p15:guide id="12" pos="3744">
          <p15:clr>
            <a:srgbClr val="5ACBF0"/>
          </p15:clr>
        </p15:guide>
        <p15:guide id="13" pos="3936">
          <p15:clr>
            <a:srgbClr val="5ACBF0"/>
          </p15:clr>
        </p15:guide>
        <p15:guide id="14" pos="4963">
          <p15:clr>
            <a:srgbClr val="5ACBF0"/>
          </p15:clr>
        </p15:guide>
        <p15:guide id="15" pos="5155">
          <p15:clr>
            <a:srgbClr val="5ACBF0"/>
          </p15:clr>
        </p15:guide>
        <p15:guide id="16" pos="6179">
          <p15:clr>
            <a:srgbClr val="5ACBF0"/>
          </p15:clr>
        </p15:guide>
        <p15:guide id="17" pos="6371">
          <p15:clr>
            <a:srgbClr val="5ACBF0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6D3E94B-F75A-43E2-84AB-FDF386CCE5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1" y="457200"/>
            <a:ext cx="7012781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[Slide title]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54B348-3077-4F00-B031-9D2252B7D3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2900" y="1737360"/>
            <a:ext cx="8455914" cy="4480560"/>
          </a:xfrm>
          <a:prstGeom prst="rect">
            <a:avLst/>
          </a:prstGeom>
        </p:spPr>
        <p:txBody>
          <a:bodyPr vert="horz" lIns="0" tIns="0" rIns="0" bIns="0" spcCol="301752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Legal">
            <a:extLst>
              <a:ext uri="{FF2B5EF4-FFF2-40B4-BE49-F238E27FC236}">
                <a16:creationId xmlns:a16="http://schemas.microsoft.com/office/drawing/2014/main" id="{98900E19-AB1E-2948-B9FE-FEBFD6353C55}"/>
              </a:ext>
            </a:extLst>
          </p:cNvPr>
          <p:cNvSpPr txBox="1"/>
          <p:nvPr/>
        </p:nvSpPr>
        <p:spPr>
          <a:xfrm>
            <a:off x="342900" y="6400800"/>
            <a:ext cx="4114800" cy="182880"/>
          </a:xfrm>
          <a:prstGeom prst="rect">
            <a:avLst/>
          </a:prstGeom>
          <a:noFill/>
        </p:spPr>
        <p:txBody>
          <a:bodyPr wrap="square" lIns="0" tIns="0" rIns="0" bIns="5144" rtlCol="0" anchor="b" anchorCtr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</a:pPr>
            <a:r>
              <a:rPr lang="en-US" sz="450"/>
              <a:t>Privileged and Confidential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FBBA5E15-AB8F-DA4F-A95E-1812EC7C54FC}"/>
              </a:ext>
            </a:extLst>
          </p:cNvPr>
          <p:cNvSpPr txBox="1">
            <a:spLocks/>
          </p:cNvSpPr>
          <p:nvPr/>
        </p:nvSpPr>
        <p:spPr>
          <a:xfrm>
            <a:off x="8524494" y="6400800"/>
            <a:ext cx="274320" cy="18288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defPPr>
              <a:defRPr lang="en-US"/>
            </a:defPPr>
            <a:lvl1pPr marL="0" algn="r" defTabSz="914400" rtl="0" eaLnBrk="1" latinLnBrk="0" hangingPunct="1">
              <a:defRPr sz="9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C0C6C74-4AFF-2A4A-A6FE-0095C289532F}" type="slidenum">
              <a:rPr lang="en-US" sz="619" b="0" smtClean="0"/>
              <a:pPr/>
              <a:t>‹#›</a:t>
            </a:fld>
            <a:endParaRPr lang="en-US" sz="619" b="0"/>
          </a:p>
        </p:txBody>
      </p:sp>
    </p:spTree>
    <p:extLst>
      <p:ext uri="{BB962C8B-B14F-4D97-AF65-F5344CB8AC3E}">
        <p14:creationId xmlns:p14="http://schemas.microsoft.com/office/powerpoint/2010/main" val="2596608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3" r:id="rId1"/>
    <p:sldLayoutId id="2147483804" r:id="rId2"/>
    <p:sldLayoutId id="2147483805" r:id="rId3"/>
    <p:sldLayoutId id="2147483806" r:id="rId4"/>
    <p:sldLayoutId id="2147483807" r:id="rId5"/>
    <p:sldLayoutId id="2147483808" r:id="rId6"/>
    <p:sldLayoutId id="2147483809" r:id="rId7"/>
    <p:sldLayoutId id="2147483810" r:id="rId8"/>
    <p:sldLayoutId id="2147483811" r:id="rId9"/>
    <p:sldLayoutId id="2147483812" r:id="rId10"/>
    <p:sldLayoutId id="2147483813" r:id="rId11"/>
    <p:sldLayoutId id="2147483814" r:id="rId12"/>
    <p:sldLayoutId id="2147483815" r:id="rId13"/>
    <p:sldLayoutId id="2147483816" r:id="rId14"/>
    <p:sldLayoutId id="2147483817" r:id="rId15"/>
    <p:sldLayoutId id="2147483818" r:id="rId16"/>
    <p:sldLayoutId id="2147483819" r:id="rId17"/>
    <p:sldLayoutId id="2147483820" r:id="rId18"/>
    <p:sldLayoutId id="2147483821" r:id="rId19"/>
    <p:sldLayoutId id="2147483822" r:id="rId20"/>
    <p:sldLayoutId id="2147483823" r:id="rId21"/>
    <p:sldLayoutId id="2147483824" r:id="rId22"/>
    <p:sldLayoutId id="2147483825" r:id="rId23"/>
    <p:sldLayoutId id="2147483826" r:id="rId24"/>
    <p:sldLayoutId id="2147483827" r:id="rId25"/>
    <p:sldLayoutId id="2147483828" r:id="rId26"/>
    <p:sldLayoutId id="2147483829" r:id="rId27"/>
    <p:sldLayoutId id="2147483830" r:id="rId28"/>
    <p:sldLayoutId id="2147483831" r:id="rId29"/>
    <p:sldLayoutId id="2147483832" r:id="rId30"/>
    <p:sldLayoutId id="2147483833" r:id="rId31"/>
    <p:sldLayoutId id="2147483834" r:id="rId32"/>
    <p:sldLayoutId id="2147483835" r:id="rId33"/>
    <p:sldLayoutId id="2147483836" r:id="rId34"/>
    <p:sldLayoutId id="2147483837" r:id="rId35"/>
    <p:sldLayoutId id="2147483839" r:id="rId3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algn="l" defTabSz="385763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8588" indent="-128588" algn="l" defTabSz="385763" rtl="0" eaLnBrk="1" latinLnBrk="0" hangingPunct="1">
        <a:lnSpc>
          <a:spcPct val="110000"/>
        </a:lnSpc>
        <a:spcBef>
          <a:spcPts val="675"/>
        </a:spcBef>
        <a:buClrTx/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indent="-128588" algn="l" defTabSz="385763" rtl="0" eaLnBrk="1" latinLnBrk="0" hangingPunct="1">
        <a:lnSpc>
          <a:spcPct val="110000"/>
        </a:lnSpc>
        <a:spcBef>
          <a:spcPts val="169"/>
        </a:spcBef>
        <a:buClrTx/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385763" indent="-128588" algn="l" defTabSz="385763" rtl="0" eaLnBrk="1" latinLnBrk="0" hangingPunct="1">
        <a:lnSpc>
          <a:spcPct val="110000"/>
        </a:lnSpc>
        <a:spcBef>
          <a:spcPts val="169"/>
        </a:spcBef>
        <a:buClrTx/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514350" indent="-128588" algn="l" defTabSz="385763" rtl="0" eaLnBrk="1" latinLnBrk="0" hangingPunct="1">
        <a:lnSpc>
          <a:spcPct val="110000"/>
        </a:lnSpc>
        <a:spcBef>
          <a:spcPts val="169"/>
        </a:spcBef>
        <a:buClrTx/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642938" indent="-128588" algn="l" defTabSz="385763" rtl="0" eaLnBrk="1" latinLnBrk="0" hangingPunct="1">
        <a:lnSpc>
          <a:spcPct val="110000"/>
        </a:lnSpc>
        <a:spcBef>
          <a:spcPts val="169"/>
        </a:spcBef>
        <a:buClrTx/>
        <a:buFont typeface="Arial" panose="020B0604020202020204" pitchFamily="34" charset="0"/>
        <a:buChar char="»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771525" indent="-128588" algn="l" defTabSz="385763" rtl="0" eaLnBrk="1" latinLnBrk="0" hangingPunct="1">
        <a:lnSpc>
          <a:spcPct val="110000"/>
        </a:lnSpc>
        <a:spcBef>
          <a:spcPts val="169"/>
        </a:spcBef>
        <a:buClrTx/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900113" indent="-128588" algn="l" defTabSz="385763" rtl="0" eaLnBrk="1" latinLnBrk="0" hangingPunct="1">
        <a:lnSpc>
          <a:spcPct val="110000"/>
        </a:lnSpc>
        <a:spcBef>
          <a:spcPts val="169"/>
        </a:spcBef>
        <a:buClrTx/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028700" indent="-128588" algn="l" defTabSz="385763" rtl="0" eaLnBrk="1" latinLnBrk="0" hangingPunct="1">
        <a:lnSpc>
          <a:spcPct val="110000"/>
        </a:lnSpc>
        <a:spcBef>
          <a:spcPts val="169"/>
        </a:spcBef>
        <a:buClrTx/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157288" indent="-128588" algn="l" defTabSz="385763" rtl="0" eaLnBrk="1" latinLnBrk="0" hangingPunct="1">
        <a:lnSpc>
          <a:spcPct val="110000"/>
        </a:lnSpc>
        <a:spcBef>
          <a:spcPts val="169"/>
        </a:spcBef>
        <a:buClrTx/>
        <a:buFont typeface="Arial" panose="020B0604020202020204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85763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192881" algn="l" defTabSz="385763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385763" algn="l" defTabSz="385763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578644" algn="l" defTabSz="385763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771525" algn="l" defTabSz="385763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964406" algn="l" defTabSz="385763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6pPr>
      <a:lvl7pPr marL="1157288" algn="l" defTabSz="385763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1350169" algn="l" defTabSz="385763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8pPr>
      <a:lvl9pPr marL="1543050" algn="l" defTabSz="385763" rtl="0" eaLnBrk="1" latinLnBrk="0" hangingPunct="1"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6">
          <p15:clr>
            <a:srgbClr val="F26B43"/>
          </p15:clr>
        </p15:guide>
        <p15:guide id="2" pos="7392">
          <p15:clr>
            <a:srgbClr val="F26B43"/>
          </p15:clr>
        </p15:guide>
        <p15:guide id="5" orient="horz" pos="286">
          <p15:clr>
            <a:srgbClr val="F26B43"/>
          </p15:clr>
        </p15:guide>
        <p15:guide id="6" orient="horz" pos="3918">
          <p15:clr>
            <a:srgbClr val="F26B43"/>
          </p15:clr>
        </p15:guide>
        <p15:guide id="8" pos="1314">
          <p15:clr>
            <a:srgbClr val="5ACBF0"/>
          </p15:clr>
        </p15:guide>
        <p15:guide id="9" pos="1504">
          <p15:clr>
            <a:srgbClr val="5ACBF0"/>
          </p15:clr>
        </p15:guide>
        <p15:guide id="10" pos="2528">
          <p15:clr>
            <a:srgbClr val="5ACBF0"/>
          </p15:clr>
        </p15:guide>
        <p15:guide id="11" pos="2720">
          <p15:clr>
            <a:srgbClr val="5ACBF0"/>
          </p15:clr>
        </p15:guide>
        <p15:guide id="12" pos="3744">
          <p15:clr>
            <a:srgbClr val="5ACBF0"/>
          </p15:clr>
        </p15:guide>
        <p15:guide id="13" pos="3936">
          <p15:clr>
            <a:srgbClr val="5ACBF0"/>
          </p15:clr>
        </p15:guide>
        <p15:guide id="14" pos="4962">
          <p15:clr>
            <a:srgbClr val="5ACBF0"/>
          </p15:clr>
        </p15:guide>
        <p15:guide id="15" pos="5154">
          <p15:clr>
            <a:srgbClr val="5ACBF0"/>
          </p15:clr>
        </p15:guide>
        <p15:guide id="16" pos="6178">
          <p15:clr>
            <a:srgbClr val="5ACBF0"/>
          </p15:clr>
        </p15:guide>
        <p15:guide id="17" pos="6370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0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utilityanalytics.com/2022/06/ami-advanced-analytics-opportunities/" TargetMode="Externa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2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2.deloitte.com/us/en/pages/energy-and-resources/articles/next-gen-advanced-metering-infrastructure.html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26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6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7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2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10" Type="http://schemas.openxmlformats.org/officeDocument/2006/relationships/image" Target="../media/image32.emf"/><Relationship Id="rId4" Type="http://schemas.openxmlformats.org/officeDocument/2006/relationships/diagramData" Target="../diagrams/data1.xml"/><Relationship Id="rId9" Type="http://schemas.openxmlformats.org/officeDocument/2006/relationships/oleObject" Target="../embeddings/oleObject1.bin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notesSlide" Target="../notesSlides/notesSlide3.xml"/><Relationship Id="rId7" Type="http://schemas.openxmlformats.org/officeDocument/2006/relationships/diagramLayout" Target="../diagrams/layout2.xml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2.xml"/><Relationship Id="rId6" Type="http://schemas.openxmlformats.org/officeDocument/2006/relationships/diagramData" Target="../diagrams/data2.xml"/><Relationship Id="rId5" Type="http://schemas.openxmlformats.org/officeDocument/2006/relationships/image" Target="../media/image32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2.bin"/><Relationship Id="rId9" Type="http://schemas.openxmlformats.org/officeDocument/2006/relationships/diagramColors" Target="../diagrams/colors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notesSlide" Target="../notesSlides/notesSlide4.xml"/><Relationship Id="rId7" Type="http://schemas.openxmlformats.org/officeDocument/2006/relationships/diagramLayout" Target="../diagrams/layout3.xml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3.xml"/><Relationship Id="rId6" Type="http://schemas.openxmlformats.org/officeDocument/2006/relationships/diagramData" Target="../diagrams/data3.xml"/><Relationship Id="rId5" Type="http://schemas.openxmlformats.org/officeDocument/2006/relationships/image" Target="../media/image32.emf"/><Relationship Id="rId10" Type="http://schemas.microsoft.com/office/2007/relationships/diagramDrawing" Target="../diagrams/drawing3.xml"/><Relationship Id="rId4" Type="http://schemas.openxmlformats.org/officeDocument/2006/relationships/oleObject" Target="../embeddings/oleObject3.bin"/><Relationship Id="rId9" Type="http://schemas.openxmlformats.org/officeDocument/2006/relationships/diagramColors" Target="../diagrams/colors3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3" Type="http://schemas.openxmlformats.org/officeDocument/2006/relationships/notesSlide" Target="../notesSlides/notesSlide5.xml"/><Relationship Id="rId7" Type="http://schemas.openxmlformats.org/officeDocument/2006/relationships/diagramLayout" Target="../diagrams/layout4.xml"/><Relationship Id="rId2" Type="http://schemas.openxmlformats.org/officeDocument/2006/relationships/slideLayout" Target="../slideLayouts/slideLayout51.xml"/><Relationship Id="rId1" Type="http://schemas.openxmlformats.org/officeDocument/2006/relationships/tags" Target="../tags/tag4.xml"/><Relationship Id="rId6" Type="http://schemas.openxmlformats.org/officeDocument/2006/relationships/diagramData" Target="../diagrams/data4.xml"/><Relationship Id="rId5" Type="http://schemas.openxmlformats.org/officeDocument/2006/relationships/image" Target="../media/image32.emf"/><Relationship Id="rId10" Type="http://schemas.microsoft.com/office/2007/relationships/diagramDrawing" Target="../diagrams/drawing4.xml"/><Relationship Id="rId4" Type="http://schemas.openxmlformats.org/officeDocument/2006/relationships/oleObject" Target="../embeddings/oleObject4.bin"/><Relationship Id="rId9" Type="http://schemas.openxmlformats.org/officeDocument/2006/relationships/diagramColors" Target="../diagrams/colors4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206B6984-0370-AB06-4055-F34CA468A3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18508" y="1952367"/>
            <a:ext cx="6733310" cy="1557595"/>
          </a:xfrm>
        </p:spPr>
        <p:txBody>
          <a:bodyPr>
            <a:normAutofit fontScale="90000"/>
          </a:bodyPr>
          <a:lstStyle/>
          <a:p>
            <a:pPr marR="0" algn="l"/>
            <a:r>
              <a:rPr lang="en-US" sz="4000" b="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ROUNDTABLE:</a:t>
            </a:r>
            <a:br>
              <a:rPr lang="en-US" sz="3200" b="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</a:br>
            <a:r>
              <a:rPr lang="en-US" sz="3200" b="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- </a:t>
            </a:r>
            <a:r>
              <a:rPr lang="en-US" sz="2700" b="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Tracking Failure Curves of Early AMI Deployments </a:t>
            </a:r>
            <a:br>
              <a:rPr lang="en-US" sz="2700" b="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</a:br>
            <a:r>
              <a:rPr lang="en-US" sz="2700" b="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- Considerations for AMI 2.0</a:t>
            </a:r>
            <a:br>
              <a:rPr lang="en-US" sz="2700" b="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</a:br>
            <a:r>
              <a:rPr lang="en-US" sz="2700" b="0" dirty="0">
                <a:effectLst/>
                <a:latin typeface="Calibri" panose="020F0502020204030204" pitchFamily="34" charset="0"/>
                <a:ea typeface="Times New Roman" panose="02020603050405020304" pitchFamily="18" charset="0"/>
              </a:rPr>
              <a:t>- System Obsolescence Considerations</a:t>
            </a:r>
            <a:endParaRPr lang="en-US" sz="3200" b="1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pic>
        <p:nvPicPr>
          <p:cNvPr id="2" name="Picture 1" descr="A black and red calendar with red letters and numbers&#10;&#10;Description automatically generated">
            <a:extLst>
              <a:ext uri="{FF2B5EF4-FFF2-40B4-BE49-F238E27FC236}">
                <a16:creationId xmlns:a16="http://schemas.microsoft.com/office/drawing/2014/main" id="{5DE42521-010F-19F0-6BE0-584A5CF3FE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907" y="5353985"/>
            <a:ext cx="3055647" cy="1172029"/>
          </a:xfrm>
          <a:prstGeom prst="rect">
            <a:avLst/>
          </a:prstGeom>
        </p:spPr>
      </p:pic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6B7CC385-907A-8E9B-C2F1-6BEBC9050C3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417588" y="5455143"/>
            <a:ext cx="3244850" cy="271161"/>
          </a:xfrm>
        </p:spPr>
        <p:txBody>
          <a:bodyPr>
            <a:normAutofit fontScale="55000" lnSpcReduction="20000"/>
          </a:bodyPr>
          <a:lstStyle/>
          <a:p>
            <a:r>
              <a:rPr lang="en-US" dirty="0"/>
              <a:t>July 24, 2024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1789659C-3EC0-6F3D-66E5-CCB686BC217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17588" y="5726304"/>
            <a:ext cx="3244850" cy="271161"/>
          </a:xfrm>
        </p:spPr>
        <p:txBody>
          <a:bodyPr>
            <a:normAutofit fontScale="55000" lnSpcReduction="20000"/>
          </a:bodyPr>
          <a:lstStyle/>
          <a:p>
            <a:r>
              <a:rPr lang="en-US" dirty="0"/>
              <a:t>8:45 AM -- 10:15 AM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CFE87D7C-E3DB-FF9F-3A1C-34202FC081D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417588" y="5997465"/>
            <a:ext cx="3244850" cy="271161"/>
          </a:xfrm>
        </p:spPr>
        <p:txBody>
          <a:bodyPr>
            <a:normAutofit fontScale="55000" lnSpcReduction="20000"/>
          </a:bodyPr>
          <a:lstStyle/>
          <a:p>
            <a:r>
              <a:rPr lang="en-US" dirty="0"/>
              <a:t>Glenn Pritchard</a:t>
            </a:r>
          </a:p>
        </p:txBody>
      </p:sp>
    </p:spTree>
    <p:extLst>
      <p:ext uri="{BB962C8B-B14F-4D97-AF65-F5344CB8AC3E}">
        <p14:creationId xmlns:p14="http://schemas.microsoft.com/office/powerpoint/2010/main" val="23398614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7C65AD-91C0-4DE5-9BCC-DBDFD151EE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2438" y="570261"/>
            <a:ext cx="6927924" cy="3442130"/>
          </a:xfrm>
        </p:spPr>
        <p:txBody>
          <a:bodyPr/>
          <a:lstStyle/>
          <a:p>
            <a:pPr algn="r"/>
            <a:r>
              <a:rPr lang="en-US" sz="7200" dirty="0">
                <a:solidFill>
                  <a:srgbClr val="FF0000"/>
                </a:solidFill>
              </a:rPr>
              <a:t>AMI 2.0</a:t>
            </a:r>
            <a:r>
              <a:rPr lang="en-US" sz="7200" i="1" dirty="0">
                <a:solidFill>
                  <a:srgbClr val="FF0000"/>
                </a:solidFill>
              </a:rPr>
              <a:t>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F13C88-5E3F-4FC2-BED9-C351442034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078297-4C2D-40A6-9300-7C91B8680A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tescometering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DFC95B-E6C3-4D38-B0C2-5B6ADB0D1D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C4C4-F0A7-4B61-A827-E4198D078267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35165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EDB77-EAAD-186A-C268-31B548C8A5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200150"/>
            <a:ext cx="4114800" cy="685800"/>
          </a:xfrm>
        </p:spPr>
        <p:txBody>
          <a:bodyPr anchor="t">
            <a:normAutofit/>
          </a:bodyPr>
          <a:lstStyle/>
          <a:p>
            <a:r>
              <a:rPr lang="en-US" dirty="0"/>
              <a:t>AMI 2.0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0F10173-4C99-5F19-1A91-D6B0F60D1E05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0" y="2160270"/>
            <a:ext cx="4114800" cy="3360420"/>
          </a:xfrm>
        </p:spPr>
        <p:txBody>
          <a:bodyPr>
            <a:normAutofit/>
          </a:bodyPr>
          <a:lstStyle/>
          <a:p>
            <a:r>
              <a:rPr lang="en-US" sz="2400" dirty="0"/>
              <a:t>What is AMI 2.0?  </a:t>
            </a:r>
          </a:p>
          <a:p>
            <a:endParaRPr lang="en-US" sz="2400" dirty="0"/>
          </a:p>
          <a:p>
            <a:r>
              <a:rPr lang="en-US" sz="2400" dirty="0"/>
              <a:t>What is changing?</a:t>
            </a:r>
          </a:p>
        </p:txBody>
      </p:sp>
      <p:pic>
        <p:nvPicPr>
          <p:cNvPr id="5" name="Picture 4" descr="Close-up of hands raised in classroom">
            <a:extLst>
              <a:ext uri="{FF2B5EF4-FFF2-40B4-BE49-F238E27FC236}">
                <a16:creationId xmlns:a16="http://schemas.microsoft.com/office/drawing/2014/main" id="{AEE99BEF-64DD-3A62-AAFD-E2501B18AD5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55" r="32594" b="-1"/>
          <a:stretch/>
        </p:blipFill>
        <p:spPr>
          <a:xfrm>
            <a:off x="4686300" y="857257"/>
            <a:ext cx="4457700" cy="514349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74103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EDB77-EAAD-186A-C268-31B548C8A5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10" y="1325551"/>
            <a:ext cx="8229330" cy="332399"/>
          </a:xfrm>
        </p:spPr>
        <p:txBody>
          <a:bodyPr/>
          <a:lstStyle/>
          <a:p>
            <a:r>
              <a:rPr lang="en-US" dirty="0"/>
              <a:t>AMI 2.0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0F10173-4C99-5F19-1A91-D6B0F60D1E05}"/>
              </a:ext>
            </a:extLst>
          </p:cNvPr>
          <p:cNvSpPr>
            <a:spLocks noGrp="1"/>
          </p:cNvSpPr>
          <p:nvPr>
            <p:ph type="subTitle"/>
          </p:nvPr>
        </p:nvSpPr>
        <p:spPr>
          <a:xfrm>
            <a:off x="380910" y="2204405"/>
            <a:ext cx="3512910" cy="1994392"/>
          </a:xfrm>
        </p:spPr>
        <p:txBody>
          <a:bodyPr/>
          <a:lstStyle/>
          <a:p>
            <a:r>
              <a:rPr lang="en-US" sz="1800" dirty="0">
                <a:solidFill>
                  <a:srgbClr val="0070C0"/>
                </a:solidFill>
              </a:rPr>
              <a:t>AMI 2.0 is a system upgrade that results in increased network reliability and more reliable exchanges of data</a:t>
            </a:r>
          </a:p>
          <a:p>
            <a:endParaRPr lang="en-US" sz="1800" dirty="0">
              <a:solidFill>
                <a:srgbClr val="0070C0"/>
              </a:solidFill>
            </a:endParaRPr>
          </a:p>
          <a:p>
            <a:r>
              <a:rPr lang="en-US" sz="1800" dirty="0">
                <a:solidFill>
                  <a:srgbClr val="0070C0"/>
                </a:solidFill>
              </a:rPr>
              <a:t>The functions build upon AMI 1.0, which set the foundation for the futu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3DBEB61-F2DF-E387-91B6-1A3D6FAC28D0}"/>
              </a:ext>
            </a:extLst>
          </p:cNvPr>
          <p:cNvSpPr txBox="1"/>
          <p:nvPr/>
        </p:nvSpPr>
        <p:spPr>
          <a:xfrm>
            <a:off x="533400" y="4491858"/>
            <a:ext cx="3147060" cy="7155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85800"/>
            <a:r>
              <a:rPr lang="en-US" sz="1350" i="1" dirty="0">
                <a:solidFill>
                  <a:srgbClr val="00E4A5">
                    <a:lumMod val="50000"/>
                  </a:srgbClr>
                </a:solidFill>
                <a:latin typeface="Open Sans" panose="020B0606030504020204" pitchFamily="34" charset="0"/>
              </a:rPr>
              <a:t>“Many of the end user/customer advantages promised by AMI 1.0 did not materialize.”</a:t>
            </a:r>
            <a:endParaRPr lang="en-US" sz="1350" i="1" dirty="0">
              <a:solidFill>
                <a:srgbClr val="00E4A5">
                  <a:lumMod val="50000"/>
                </a:srgbClr>
              </a:solidFill>
              <a:latin typeface="Arial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8E235A6-2F66-7D32-60CE-B612CE3C2FBF}"/>
              </a:ext>
            </a:extLst>
          </p:cNvPr>
          <p:cNvGrpSpPr/>
          <p:nvPr/>
        </p:nvGrpSpPr>
        <p:grpSpPr>
          <a:xfrm>
            <a:off x="4114044" y="2266134"/>
            <a:ext cx="4572396" cy="2571973"/>
            <a:chOff x="5485392" y="1878511"/>
            <a:chExt cx="6096528" cy="3429297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1A4250F6-0826-AEEE-02DE-F3AA5F1212B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485392" y="1878511"/>
              <a:ext cx="6096528" cy="3429297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924C3F9-781A-49E9-C695-A50AD0D661FE}"/>
                </a:ext>
              </a:extLst>
            </p:cNvPr>
            <p:cNvSpPr/>
            <p:nvPr/>
          </p:nvSpPr>
          <p:spPr>
            <a:xfrm>
              <a:off x="10612401" y="1998575"/>
              <a:ext cx="833981" cy="390183"/>
            </a:xfrm>
            <a:prstGeom prst="rect">
              <a:avLst/>
            </a:prstGeom>
            <a:solidFill>
              <a:schemeClr val="bg1"/>
            </a:solidFill>
            <a:ln w="12700" cap="sq">
              <a:solidFill>
                <a:schemeClr val="bg1"/>
              </a:solidFill>
              <a:miter lim="800000"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rgbClr val="000000"/>
            </a:effectRef>
            <a:fontRef idx="minor">
              <a:schemeClr val="bg1"/>
            </a:fontRef>
          </p:style>
          <p:txBody>
            <a:bodyPr lIns="102870" rIns="102870" rtlCol="0" anchor="ctr"/>
            <a:lstStyle/>
            <a:p>
              <a:pPr defTabSz="685800"/>
              <a:endParaRPr lang="en-US" sz="120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E19AF75F-B787-02A8-3BCD-54BEEE76CE79}"/>
                </a:ext>
              </a:extLst>
            </p:cNvPr>
            <p:cNvSpPr/>
            <p:nvPr/>
          </p:nvSpPr>
          <p:spPr>
            <a:xfrm>
              <a:off x="6854028" y="5126001"/>
              <a:ext cx="4458321" cy="110821"/>
            </a:xfrm>
            <a:prstGeom prst="rect">
              <a:avLst/>
            </a:prstGeom>
            <a:solidFill>
              <a:schemeClr val="bg1"/>
            </a:solidFill>
            <a:ln w="12700" cap="sq">
              <a:solidFill>
                <a:schemeClr val="bg1"/>
              </a:solidFill>
              <a:miter lim="800000"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rgbClr val="000000"/>
            </a:effectRef>
            <a:fontRef idx="minor">
              <a:schemeClr val="bg1"/>
            </a:fontRef>
          </p:style>
          <p:txBody>
            <a:bodyPr lIns="102870" rIns="102870" rtlCol="0" anchor="ctr"/>
            <a:lstStyle/>
            <a:p>
              <a:pPr defTabSz="685800"/>
              <a:endParaRPr lang="en-US" sz="1200">
                <a:solidFill>
                  <a:srgbClr val="FFFFFF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5000271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3445E5-FDD1-DC6A-EAFE-CC87E84DB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10" y="1325551"/>
            <a:ext cx="8229330" cy="332399"/>
          </a:xfrm>
        </p:spPr>
        <p:txBody>
          <a:bodyPr/>
          <a:lstStyle/>
          <a:p>
            <a:r>
              <a:rPr lang="en-US" dirty="0"/>
              <a:t>More Data &amp; New Function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3B76047-11EE-56C1-E679-1CCAE3D5D087}"/>
              </a:ext>
            </a:extLst>
          </p:cNvPr>
          <p:cNvSpPr txBox="1"/>
          <p:nvPr/>
        </p:nvSpPr>
        <p:spPr>
          <a:xfrm>
            <a:off x="457110" y="2078270"/>
            <a:ext cx="7917270" cy="2582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170D67"/>
                </a:solidFill>
                <a:latin typeface="Arial"/>
              </a:rPr>
              <a:t>Increased Sample Rates</a:t>
            </a:r>
          </a:p>
          <a:p>
            <a:pPr marL="557213" lvl="1" indent="-214313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170D67"/>
                </a:solidFill>
                <a:latin typeface="Arial"/>
              </a:rPr>
              <a:t>60-, 15-, 5- &amp; 1-minute samples are possible</a:t>
            </a:r>
          </a:p>
          <a:p>
            <a:pPr marL="214313" indent="-214313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170D67"/>
                </a:solidFill>
                <a:latin typeface="Arial"/>
              </a:rPr>
              <a:t>Multiple Recording Channels</a:t>
            </a:r>
          </a:p>
          <a:p>
            <a:pPr marL="557213" lvl="1" indent="-214313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170D67"/>
                </a:solidFill>
                <a:latin typeface="Arial"/>
              </a:rPr>
              <a:t>Some vendors are claiming up to 32 </a:t>
            </a:r>
            <a:r>
              <a:rPr lang="en-US" u="sng" dirty="0">
                <a:solidFill>
                  <a:srgbClr val="170D67"/>
                </a:solidFill>
                <a:latin typeface="Arial"/>
              </a:rPr>
              <a:t>independent</a:t>
            </a:r>
            <a:r>
              <a:rPr lang="en-US" dirty="0">
                <a:solidFill>
                  <a:srgbClr val="170D67"/>
                </a:solidFill>
                <a:latin typeface="Arial"/>
              </a:rPr>
              <a:t> channels are available</a:t>
            </a:r>
          </a:p>
          <a:p>
            <a:pPr marL="214313" indent="-214313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170D67"/>
                </a:solidFill>
                <a:latin typeface="Arial"/>
              </a:rPr>
              <a:t>Distributed Intelligence and Decision Making local to the meter</a:t>
            </a:r>
          </a:p>
          <a:p>
            <a:pPr marL="214313" indent="-214313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endParaRPr lang="en-US" sz="2100" dirty="0">
              <a:solidFill>
                <a:srgbClr val="170D67"/>
              </a:solidFill>
              <a:latin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3C60619-2F67-55CD-2D4B-B504F4A1447D}"/>
              </a:ext>
            </a:extLst>
          </p:cNvPr>
          <p:cNvSpPr txBox="1"/>
          <p:nvPr/>
        </p:nvSpPr>
        <p:spPr>
          <a:xfrm>
            <a:off x="1464682" y="4468107"/>
            <a:ext cx="59021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dirty="0">
                <a:solidFill>
                  <a:srgbClr val="0070C0"/>
                </a:solidFill>
                <a:latin typeface="Arial"/>
              </a:rPr>
              <a:t>Question</a:t>
            </a:r>
            <a:r>
              <a:rPr lang="en-US" i="1" dirty="0">
                <a:solidFill>
                  <a:srgbClr val="0070C0"/>
                </a:solidFill>
                <a:latin typeface="Arial"/>
              </a:rPr>
              <a:t> – Has the network and head-end kept pace with the new meter capabilities?</a:t>
            </a:r>
          </a:p>
        </p:txBody>
      </p:sp>
    </p:spTree>
    <p:extLst>
      <p:ext uri="{BB962C8B-B14F-4D97-AF65-F5344CB8AC3E}">
        <p14:creationId xmlns:p14="http://schemas.microsoft.com/office/powerpoint/2010/main" val="406768753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9349A1-BB4B-4D74-E5B6-C2B1E90646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10" y="1325551"/>
            <a:ext cx="8229330" cy="332399"/>
          </a:xfrm>
        </p:spPr>
        <p:txBody>
          <a:bodyPr/>
          <a:lstStyle/>
          <a:p>
            <a:r>
              <a:rPr lang="en-US"/>
              <a:t>New Functions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84A93D8-B686-7E0B-E686-85661B2A6708}"/>
              </a:ext>
            </a:extLst>
          </p:cNvPr>
          <p:cNvSpPr txBox="1"/>
          <p:nvPr/>
        </p:nvSpPr>
        <p:spPr>
          <a:xfrm>
            <a:off x="533879" y="2040398"/>
            <a:ext cx="848868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2100">
                <a:solidFill>
                  <a:srgbClr val="170D67"/>
                </a:solidFill>
                <a:latin typeface="Arial"/>
              </a:rPr>
              <a:t>On-Board Decision Making</a:t>
            </a:r>
          </a:p>
          <a:p>
            <a:pPr marL="557213" lvl="1" indent="-214313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>
                <a:solidFill>
                  <a:srgbClr val="170D67"/>
                </a:solidFill>
                <a:latin typeface="Arial"/>
              </a:rPr>
              <a:t>EV Management</a:t>
            </a:r>
          </a:p>
          <a:p>
            <a:pPr marL="557213" lvl="1" indent="-214313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>
                <a:solidFill>
                  <a:srgbClr val="170D67"/>
                </a:solidFill>
                <a:latin typeface="Arial"/>
              </a:rPr>
              <a:t>Voltage Regulation</a:t>
            </a:r>
          </a:p>
          <a:p>
            <a:pPr marL="214313" indent="-214313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2100">
                <a:solidFill>
                  <a:srgbClr val="170D67"/>
                </a:solidFill>
                <a:latin typeface="Arial"/>
              </a:rPr>
              <a:t>Analytics</a:t>
            </a:r>
          </a:p>
          <a:p>
            <a:pPr marL="557213" lvl="1" indent="-214313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>
                <a:solidFill>
                  <a:srgbClr val="170D67"/>
                </a:solidFill>
                <a:latin typeface="Arial"/>
              </a:rPr>
              <a:t>Non-intrusive load monitoring &amp; Load Disaggregation </a:t>
            </a:r>
          </a:p>
          <a:p>
            <a:pPr marL="214313" indent="-214313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2100">
                <a:solidFill>
                  <a:srgbClr val="170D67"/>
                </a:solidFill>
                <a:latin typeface="Arial"/>
              </a:rPr>
              <a:t>New Communications Methods for FAN and HAN </a:t>
            </a:r>
          </a:p>
          <a:p>
            <a:pPr marL="557213" lvl="1" indent="-214313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>
                <a:solidFill>
                  <a:srgbClr val="170D67"/>
                </a:solidFill>
                <a:latin typeface="Arial"/>
              </a:rPr>
              <a:t>WiFi Enabled Meters</a:t>
            </a:r>
            <a:endParaRPr lang="en-US" dirty="0">
              <a:solidFill>
                <a:srgbClr val="170D67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60578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40C05D-D88D-AB1A-A604-9A9236C995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10" y="1325551"/>
            <a:ext cx="8229330" cy="332399"/>
          </a:xfrm>
        </p:spPr>
        <p:txBody>
          <a:bodyPr/>
          <a:lstStyle/>
          <a:p>
            <a:r>
              <a:rPr lang="en-US" dirty="0"/>
              <a:t>AMI 2.0 Use Cas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91279F6-4C1F-B178-09FC-77A86EC307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426" y="2027352"/>
            <a:ext cx="7798088" cy="308947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0E524A1-B1AC-858F-50A2-3798F13B8B4E}"/>
              </a:ext>
            </a:extLst>
          </p:cNvPr>
          <p:cNvSpPr txBox="1"/>
          <p:nvPr/>
        </p:nvSpPr>
        <p:spPr>
          <a:xfrm>
            <a:off x="1987341" y="5208270"/>
            <a:ext cx="5263172" cy="3000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US" sz="1350" dirty="0">
                <a:solidFill>
                  <a:srgbClr val="170D67"/>
                </a:solidFill>
                <a:latin typeface="Arial"/>
                <a:hlinkClick r:id="rId3"/>
              </a:rPr>
              <a:t>AMI – Advanced Analytics Opportunities - Utility Analytics Institute</a:t>
            </a:r>
            <a:r>
              <a:rPr lang="en-US" sz="1350" dirty="0">
                <a:solidFill>
                  <a:srgbClr val="170D67"/>
                </a:solidFill>
                <a:latin typeface="Arial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783271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9A3862D-A0D5-B00D-C043-92BCD08DE2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1141" y="940432"/>
            <a:ext cx="4755060" cy="4977137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827EF37-51F9-D1B9-204E-7F2B2A0778BE}"/>
              </a:ext>
            </a:extLst>
          </p:cNvPr>
          <p:cNvSpPr txBox="1"/>
          <p:nvPr/>
        </p:nvSpPr>
        <p:spPr>
          <a:xfrm>
            <a:off x="6400981" y="2876551"/>
            <a:ext cx="2590619" cy="15465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sz="1350" dirty="0">
                <a:solidFill>
                  <a:srgbClr val="170D67"/>
                </a:solidFill>
                <a:latin typeface="Arial"/>
              </a:rPr>
              <a:t>From Deloitte’s AMI 2.0 Study</a:t>
            </a:r>
          </a:p>
          <a:p>
            <a:pPr defTabSz="685800"/>
            <a:endParaRPr lang="en-US" sz="1350" dirty="0">
              <a:solidFill>
                <a:srgbClr val="170D67"/>
              </a:solidFill>
              <a:latin typeface="Arial"/>
            </a:endParaRPr>
          </a:p>
          <a:p>
            <a:pPr defTabSz="685800"/>
            <a:r>
              <a:rPr lang="en-US" sz="1350" dirty="0">
                <a:solidFill>
                  <a:srgbClr val="170D67"/>
                </a:solidFill>
                <a:latin typeface="Arial"/>
                <a:hlinkClick r:id="rId3"/>
              </a:rPr>
              <a:t>https://www2.deloitte.com/us/en/pages/energy-and-resources/articles/next-gen-advanced-metering-infrastructure.html</a:t>
            </a:r>
            <a:r>
              <a:rPr lang="en-US" sz="1350" dirty="0">
                <a:solidFill>
                  <a:srgbClr val="170D67"/>
                </a:solidFill>
                <a:latin typeface="Arial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2421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1BA5EF1A-3ACE-E9F2-3AB3-627609FC040E}"/>
              </a:ext>
            </a:extLst>
          </p:cNvPr>
          <p:cNvSpPr/>
          <p:nvPr/>
        </p:nvSpPr>
        <p:spPr>
          <a:xfrm>
            <a:off x="336741" y="4540859"/>
            <a:ext cx="8349700" cy="685800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2700" cap="sq">
            <a:solidFill>
              <a:schemeClr val="accent1"/>
            </a:solidFill>
            <a:miter lim="800000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bg1"/>
          </a:fontRef>
        </p:style>
        <p:txBody>
          <a:bodyPr lIns="102870" rIns="102870" rtlCol="0" anchor="ctr"/>
          <a:lstStyle/>
          <a:p>
            <a:pPr defTabSz="685800"/>
            <a:endParaRPr lang="en-US" sz="12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455891-47FE-B1EA-18D0-B99AC51F4D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10" y="1325551"/>
            <a:ext cx="8229330" cy="332399"/>
          </a:xfrm>
        </p:spPr>
        <p:txBody>
          <a:bodyPr/>
          <a:lstStyle/>
          <a:p>
            <a:r>
              <a:rPr lang="en-US" dirty="0"/>
              <a:t>Distributed Intelligenc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FC0F6A8E-C23D-E15F-C80D-DDE503609F83}"/>
              </a:ext>
            </a:extLst>
          </p:cNvPr>
          <p:cNvSpPr txBox="1">
            <a:spLocks/>
          </p:cNvSpPr>
          <p:nvPr/>
        </p:nvSpPr>
        <p:spPr>
          <a:xfrm>
            <a:off x="533879" y="1962004"/>
            <a:ext cx="8229330" cy="2228302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0" indent="-342900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170D67"/>
                </a:solidFill>
                <a:latin typeface="Arial"/>
              </a:rPr>
              <a:t>Recently, several meter manufacturers have begun to develop Distributed Intelligent models and applications for their AMI meters</a:t>
            </a:r>
          </a:p>
          <a:p>
            <a:pPr marL="342900" indent="-342900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170D67"/>
                </a:solidFill>
                <a:latin typeface="Arial"/>
              </a:rPr>
              <a:t>This is seen as a new means to add future functions to the meters</a:t>
            </a:r>
          </a:p>
          <a:p>
            <a:pPr marL="342900" indent="-342900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170D67"/>
                </a:solidFill>
                <a:latin typeface="Arial"/>
              </a:rPr>
              <a:t>The concept mimics the “Apple </a:t>
            </a:r>
            <a:r>
              <a:rPr lang="en-US" sz="2100" dirty="0" err="1">
                <a:solidFill>
                  <a:srgbClr val="170D67"/>
                </a:solidFill>
                <a:latin typeface="Arial"/>
              </a:rPr>
              <a:t>iStore</a:t>
            </a:r>
            <a:r>
              <a:rPr lang="en-US" sz="2100" dirty="0">
                <a:solidFill>
                  <a:srgbClr val="170D67"/>
                </a:solidFill>
                <a:latin typeface="Arial"/>
              </a:rPr>
              <a:t>” concept where apps are available to be downloaded into meters as needed</a:t>
            </a:r>
          </a:p>
          <a:p>
            <a:pPr marL="342900" indent="-342900" defTabSz="685800"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2100" dirty="0">
                <a:solidFill>
                  <a:srgbClr val="170D67"/>
                </a:solidFill>
                <a:latin typeface="Arial"/>
              </a:rPr>
              <a:t>Apps are often targeted on Real-Time decision making and control solution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DB45B90-C64F-C527-77B0-0826787343B7}"/>
              </a:ext>
            </a:extLst>
          </p:cNvPr>
          <p:cNvSpPr txBox="1"/>
          <p:nvPr/>
        </p:nvSpPr>
        <p:spPr>
          <a:xfrm>
            <a:off x="1580925" y="4574755"/>
            <a:ext cx="59817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85800"/>
            <a:r>
              <a:rPr lang="en-US" i="1" dirty="0">
                <a:solidFill>
                  <a:srgbClr val="0070C0"/>
                </a:solidFill>
                <a:latin typeface="Arial"/>
              </a:rPr>
              <a:t>DI is often associated with Mesh Network based systems where latency in communications may be a factor</a:t>
            </a:r>
          </a:p>
        </p:txBody>
      </p:sp>
    </p:spTree>
    <p:extLst>
      <p:ext uri="{BB962C8B-B14F-4D97-AF65-F5344CB8AC3E}">
        <p14:creationId xmlns:p14="http://schemas.microsoft.com/office/powerpoint/2010/main" val="21182453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A3B862-02E7-11A3-71C1-44232BEED2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10" y="1325551"/>
            <a:ext cx="8229330" cy="332399"/>
          </a:xfrm>
        </p:spPr>
        <p:txBody>
          <a:bodyPr/>
          <a:lstStyle/>
          <a:p>
            <a:r>
              <a:rPr lang="en-US" dirty="0"/>
              <a:t>Distributed Intelligenc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F57CF24-3960-158B-D60A-CC205FD1461B}"/>
              </a:ext>
            </a:extLst>
          </p:cNvPr>
          <p:cNvSpPr>
            <a:spLocks noGrp="1"/>
          </p:cNvSpPr>
          <p:nvPr>
            <p:ph type="subTitle"/>
          </p:nvPr>
        </p:nvSpPr>
        <p:spPr>
          <a:xfrm>
            <a:off x="728360" y="2035307"/>
            <a:ext cx="7306760" cy="2620333"/>
          </a:xfrm>
        </p:spPr>
        <p:txBody>
          <a:bodyPr/>
          <a:lstStyle/>
          <a:p>
            <a:pPr>
              <a:lnSpc>
                <a:spcPct val="150000"/>
              </a:lnSpc>
              <a:spcAft>
                <a:spcPts val="450"/>
              </a:spcAft>
            </a:pPr>
            <a:r>
              <a:rPr lang="en-US" sz="2100" b="0" dirty="0"/>
              <a:t>Sample Use Cases:</a:t>
            </a:r>
          </a:p>
          <a:p>
            <a:pPr marL="428625" indent="-428625">
              <a:lnSpc>
                <a:spcPct val="15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2100" b="0" dirty="0"/>
              <a:t>Hot Socket Monitoring &amp; Action</a:t>
            </a:r>
          </a:p>
          <a:p>
            <a:pPr marL="428625" indent="-428625">
              <a:lnSpc>
                <a:spcPct val="15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2100" b="0" dirty="0"/>
              <a:t>Smart Inverter Interface – Autonomous control</a:t>
            </a:r>
          </a:p>
          <a:p>
            <a:pPr marL="428625" indent="-428625">
              <a:lnSpc>
                <a:spcPct val="15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2100" b="0" dirty="0"/>
              <a:t>Solar and Battery Support – Load Coordination</a:t>
            </a:r>
          </a:p>
          <a:p>
            <a:pPr marL="428625" indent="-428625">
              <a:lnSpc>
                <a:spcPct val="15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2100" b="0" dirty="0"/>
              <a:t>Power Quality Analysis</a:t>
            </a:r>
          </a:p>
        </p:txBody>
      </p:sp>
    </p:spTree>
    <p:extLst>
      <p:ext uri="{BB962C8B-B14F-4D97-AF65-F5344CB8AC3E}">
        <p14:creationId xmlns:p14="http://schemas.microsoft.com/office/powerpoint/2010/main" val="35731487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11F3B3AE-4B7A-11A2-8EF1-6EA1495573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lternative Perspectiv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CDC3DED-4557-8B12-989E-67DB56B5FBD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049075D-CF02-C187-9379-AA588A7458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tescometering.com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0ED47F-C6F7-2C18-25CC-0CD7513963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C4C4-F0A7-4B61-A827-E4198D078267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0809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97AD4A-2ABB-4426-A1D3-1531700915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>
                <a:latin typeface="+mj-lt"/>
                <a:cs typeface="Arial" panose="020B0604020202020204" pitchFamily="34" charset="0"/>
              </a:rPr>
              <a:t>Ice Break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A7552B-032F-4836-A6D5-1A5258BB2A9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Introductions</a:t>
            </a:r>
          </a:p>
          <a:p>
            <a:pPr lvl="1"/>
            <a:r>
              <a:rPr lang="en-US" dirty="0"/>
              <a:t>What company are you representing and what is your role?</a:t>
            </a:r>
          </a:p>
          <a:p>
            <a:pPr lvl="1"/>
            <a:r>
              <a:rPr lang="en-US" dirty="0"/>
              <a:t>Describe your AMI deployment and when was it installed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72B4E4-7CDB-47DC-A9DC-BE874D7E1D2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tescometering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7B4347-6B9F-48C2-AF8B-BD54C46F75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C4C4-F0A7-4B61-A827-E4198D078267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274767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66A8578-E5D9-61B4-F67A-2532B66DE9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1200150"/>
            <a:ext cx="8454118" cy="685800"/>
          </a:xfrm>
        </p:spPr>
        <p:txBody>
          <a:bodyPr/>
          <a:lstStyle/>
          <a:p>
            <a:r>
              <a:rPr lang="en-US" dirty="0"/>
              <a:t>Sensus FlexNet V2 – </a:t>
            </a:r>
            <a:r>
              <a:rPr lang="en-US" i="1" dirty="0"/>
              <a:t>“Crowded Highways Presentation”*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57C1960-CC0E-32F3-7A27-0B54B5BFFE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819" y="1677807"/>
            <a:ext cx="4302728" cy="3227047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5E8CE7BF-E182-6548-6EC3-BB10BF590D4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41421" y="1681935"/>
            <a:ext cx="2706611" cy="202995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5415913-E59D-73BA-9763-7812797C047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08196" y="3816803"/>
            <a:ext cx="2706611" cy="202995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1714A0A-F988-06DC-9D7E-8078AB5C81A6}"/>
              </a:ext>
            </a:extLst>
          </p:cNvPr>
          <p:cNvSpPr txBox="1"/>
          <p:nvPr/>
        </p:nvSpPr>
        <p:spPr>
          <a:xfrm>
            <a:off x="7805357" y="2265639"/>
            <a:ext cx="942825" cy="3905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685800">
              <a:lnSpc>
                <a:spcPct val="110000"/>
              </a:lnSpc>
              <a:spcBef>
                <a:spcPts val="900"/>
              </a:spcBef>
              <a:buSzPct val="100000"/>
            </a:pPr>
            <a:r>
              <a:rPr lang="en-US" sz="1200" dirty="0">
                <a:solidFill>
                  <a:srgbClr val="170D67"/>
                </a:solidFill>
                <a:latin typeface="Arial"/>
              </a:rPr>
              <a:t>* - Full slides in Appendix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A66084E-966D-AC5C-D273-C1467B2E112B}"/>
              </a:ext>
            </a:extLst>
          </p:cNvPr>
          <p:cNvSpPr/>
          <p:nvPr/>
        </p:nvSpPr>
        <p:spPr>
          <a:xfrm>
            <a:off x="971783" y="4994461"/>
            <a:ext cx="4500282" cy="6633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cap="sq">
            <a:solidFill>
              <a:schemeClr val="accent1"/>
            </a:solidFill>
            <a:miter lim="800000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bg1"/>
          </a:fontRef>
        </p:style>
        <p:txBody>
          <a:bodyPr lIns="102870" rIns="102870" rtlCol="0" anchor="ctr"/>
          <a:lstStyle/>
          <a:p>
            <a:pPr algn="ctr" defTabSz="685800"/>
            <a:r>
              <a:rPr lang="en-US" sz="1200" dirty="0">
                <a:solidFill>
                  <a:srgbClr val="6E06C1"/>
                </a:solidFill>
                <a:latin typeface="Arial"/>
              </a:rPr>
              <a:t>The FlexNet V2 Protocol enable more efficient use of the RF Channels, delivering higher speed, higher capacity and more secure communications</a:t>
            </a:r>
          </a:p>
        </p:txBody>
      </p:sp>
    </p:spTree>
    <p:extLst>
      <p:ext uri="{BB962C8B-B14F-4D97-AF65-F5344CB8AC3E}">
        <p14:creationId xmlns:p14="http://schemas.microsoft.com/office/powerpoint/2010/main" val="9048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952D5EF-9E27-1ECC-BA8E-EF0B63AC65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nsus V2 Protoco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8343EC2-3239-BAF2-7F69-30E530D18433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83967" y="1748790"/>
            <a:ext cx="7012781" cy="3360420"/>
          </a:xfrm>
        </p:spPr>
        <p:txBody>
          <a:bodyPr/>
          <a:lstStyle/>
          <a:p>
            <a:r>
              <a:rPr lang="en-US" sz="1500" dirty="0"/>
              <a:t>What is V2?</a:t>
            </a:r>
          </a:p>
          <a:p>
            <a:pPr lvl="1"/>
            <a:r>
              <a:rPr lang="en-US" sz="15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The V2 protocol is a new method to communicate to our meters</a:t>
            </a:r>
          </a:p>
          <a:p>
            <a:pPr lvl="1"/>
            <a:r>
              <a:rPr lang="en-US" sz="15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It easily coexists with the legacy V1 protocol, using the same RF spectrum</a:t>
            </a:r>
          </a:p>
          <a:p>
            <a:pPr lvl="1"/>
            <a:r>
              <a:rPr lang="en-US" sz="15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V2 is built upon higher speed messages and more efficient data packets</a:t>
            </a:r>
          </a:p>
          <a:p>
            <a:r>
              <a:rPr lang="en-US" sz="1500" dirty="0"/>
              <a:t>Why do we need it?</a:t>
            </a:r>
          </a:p>
          <a:p>
            <a:pPr lvl="1"/>
            <a:r>
              <a:rPr lang="en-US" sz="15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Performance Improvements</a:t>
            </a:r>
          </a:p>
          <a:p>
            <a:pPr lvl="1"/>
            <a:r>
              <a:rPr lang="en-US" sz="15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Improved Security</a:t>
            </a:r>
          </a:p>
          <a:p>
            <a:pPr lvl="1"/>
            <a:r>
              <a:rPr lang="en-US" sz="15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Enables new functionality on </a:t>
            </a:r>
            <a:r>
              <a:rPr lang="en-US" sz="1500" dirty="0" err="1">
                <a:solidFill>
                  <a:schemeClr val="tx1">
                    <a:lumMod val="40000"/>
                    <a:lumOff val="60000"/>
                  </a:schemeClr>
                </a:solidFill>
              </a:rPr>
              <a:t>NextGeneration</a:t>
            </a:r>
            <a:r>
              <a:rPr lang="en-US" sz="15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Electric and Gas Meters</a:t>
            </a:r>
          </a:p>
          <a:p>
            <a:r>
              <a:rPr lang="en-US" sz="1500" dirty="0"/>
              <a:t>When is V2 available?  </a:t>
            </a:r>
          </a:p>
          <a:p>
            <a:pPr lvl="1"/>
            <a:r>
              <a:rPr lang="en-US" sz="15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NOW, All eligible transceivers are configured to support V2 communications</a:t>
            </a:r>
          </a:p>
          <a:p>
            <a:r>
              <a:rPr lang="en-US" sz="1500" dirty="0"/>
              <a:t>Do we have any devices on the V2 Protocol?</a:t>
            </a:r>
          </a:p>
          <a:p>
            <a:pPr lvl="1"/>
            <a:r>
              <a:rPr lang="en-US" sz="15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YES, more than 25,000 meters using the V2 Protocol today</a:t>
            </a:r>
          </a:p>
        </p:txBody>
      </p:sp>
    </p:spTree>
    <p:extLst>
      <p:ext uri="{BB962C8B-B14F-4D97-AF65-F5344CB8AC3E}">
        <p14:creationId xmlns:p14="http://schemas.microsoft.com/office/powerpoint/2010/main" val="1624813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D804AA-27F6-D48A-69E6-C50D91B2F5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 is a </a:t>
            </a:r>
            <a:r>
              <a:rPr lang="en-US" i="1" dirty="0"/>
              <a:t>NextGen</a:t>
            </a:r>
            <a:r>
              <a:rPr lang="en-US" dirty="0"/>
              <a:t> Meter?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0AF62FF-8741-FD44-4367-CEEBB9757276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900" y="3676650"/>
            <a:ext cx="4114800" cy="1844040"/>
          </a:xfrm>
        </p:spPr>
        <p:txBody>
          <a:bodyPr/>
          <a:lstStyle/>
          <a:p>
            <a:pPr marL="0" indent="0">
              <a:buNone/>
            </a:pPr>
            <a:r>
              <a:rPr lang="en-US" b="1" u="sng" dirty="0"/>
              <a:t>Communications</a:t>
            </a:r>
          </a:p>
          <a:p>
            <a:pPr>
              <a:spcBef>
                <a:spcPts val="450"/>
              </a:spcBef>
            </a:pPr>
            <a:r>
              <a:rPr lang="en-US" dirty="0"/>
              <a:t>V2 – More efficient utilization of infrastructure leading to higher capacity and speed</a:t>
            </a:r>
          </a:p>
          <a:p>
            <a:pPr>
              <a:spcBef>
                <a:spcPts val="450"/>
              </a:spcBef>
            </a:pPr>
            <a:r>
              <a:rPr lang="en-US" dirty="0"/>
              <a:t>Security / Encryption – mandatory, enhanced security measures </a:t>
            </a:r>
          </a:p>
          <a:p>
            <a:pPr>
              <a:spcBef>
                <a:spcPts val="450"/>
              </a:spcBef>
            </a:pPr>
            <a:r>
              <a:rPr lang="en-US" dirty="0"/>
              <a:t>New Network hardware – improved software and contemporary hardwar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7661E81-24B1-F17F-7607-D000CFDBB38B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686300" y="3676650"/>
            <a:ext cx="4114800" cy="1844040"/>
          </a:xfrm>
        </p:spPr>
        <p:txBody>
          <a:bodyPr/>
          <a:lstStyle/>
          <a:p>
            <a:pPr marL="0" indent="0">
              <a:buNone/>
            </a:pPr>
            <a:r>
              <a:rPr lang="en-US" b="1" u="sng" dirty="0"/>
              <a:t>Functionality</a:t>
            </a:r>
          </a:p>
          <a:p>
            <a:pPr>
              <a:spcBef>
                <a:spcPts val="450"/>
              </a:spcBef>
            </a:pPr>
            <a:r>
              <a:rPr lang="en-US" dirty="0"/>
              <a:t>Multiple Independent Channels – beyond usage, including voltage, power quality, etc.</a:t>
            </a:r>
            <a:endParaRPr lang="en-US" dirty="0">
              <a:solidFill>
                <a:srgbClr val="FF0000"/>
              </a:solidFill>
            </a:endParaRPr>
          </a:p>
          <a:p>
            <a:pPr>
              <a:spcBef>
                <a:spcPts val="450"/>
              </a:spcBef>
            </a:pPr>
            <a:r>
              <a:rPr lang="en-US" dirty="0"/>
              <a:t>Firmware improvements / speed to upgrade</a:t>
            </a:r>
          </a:p>
          <a:p>
            <a:pPr>
              <a:spcBef>
                <a:spcPts val="450"/>
              </a:spcBef>
            </a:pPr>
            <a:r>
              <a:rPr lang="en-US" dirty="0"/>
              <a:t>More flexible remote configuration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93D72D9-F673-5188-85BF-0A209A106D09}"/>
              </a:ext>
            </a:extLst>
          </p:cNvPr>
          <p:cNvSpPr txBox="1">
            <a:spLocks/>
          </p:cNvSpPr>
          <p:nvPr/>
        </p:nvSpPr>
        <p:spPr>
          <a:xfrm>
            <a:off x="342900" y="1750869"/>
            <a:ext cx="8458200" cy="1293668"/>
          </a:xfrm>
          <a:prstGeom prst="rect">
            <a:avLst/>
          </a:prstGeom>
        </p:spPr>
        <p:txBody>
          <a:bodyPr vert="horz" lIns="0" tIns="0" rIns="0" bIns="0" spcCol="301752" rtlCol="0">
            <a:noAutofit/>
          </a:bodyPr>
          <a:lstStyle>
            <a:lvl1pPr marL="228600" indent="-228600" algn="l" defTabSz="685800" rtl="0" eaLnBrk="1" latinLnBrk="0" hangingPunct="1">
              <a:lnSpc>
                <a:spcPct val="110000"/>
              </a:lnSpc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685800" rtl="0" eaLnBrk="1" latinLnBrk="0" hangingPunct="1">
              <a:lnSpc>
                <a:spcPct val="110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685800" rtl="0" eaLnBrk="1" latinLnBrk="0" hangingPunct="1">
              <a:lnSpc>
                <a:spcPct val="110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685800" rtl="0" eaLnBrk="1" latinLnBrk="0" hangingPunct="1">
              <a:lnSpc>
                <a:spcPct val="110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685800" rtl="0" eaLnBrk="1" latinLnBrk="0" hangingPunct="1">
              <a:lnSpc>
                <a:spcPct val="110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71600" indent="-228600" algn="l" defTabSz="685800" rtl="0" eaLnBrk="1" latinLnBrk="0" hangingPunct="1">
              <a:lnSpc>
                <a:spcPct val="110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00200" indent="-228600" algn="l" defTabSz="685800" rtl="0" eaLnBrk="1" latinLnBrk="0" hangingPunct="1">
              <a:lnSpc>
                <a:spcPct val="110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28800" indent="-228600" algn="l" defTabSz="685800" rtl="0" eaLnBrk="1" latinLnBrk="0" hangingPunct="1">
              <a:lnSpc>
                <a:spcPct val="110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057400" indent="-228600" algn="l" defTabSz="685800" rtl="0" eaLnBrk="1" latinLnBrk="0" hangingPunct="1">
              <a:lnSpc>
                <a:spcPct val="110000"/>
              </a:lnSpc>
              <a:spcBef>
                <a:spcPts val="300"/>
              </a:spcBef>
              <a:buClrTx/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514350">
              <a:spcBef>
                <a:spcPts val="450"/>
              </a:spcBef>
              <a:buNone/>
            </a:pPr>
            <a:r>
              <a:rPr lang="en-US" sz="1200" b="1" u="sng" dirty="0">
                <a:solidFill>
                  <a:srgbClr val="170D67"/>
                </a:solidFill>
                <a:latin typeface="Arial"/>
              </a:rPr>
              <a:t>Meters Continue to Evolve</a:t>
            </a:r>
          </a:p>
          <a:p>
            <a:pPr marL="171450" indent="-171450" defTabSz="514350">
              <a:spcBef>
                <a:spcPts val="450"/>
              </a:spcBef>
            </a:pPr>
            <a:r>
              <a:rPr lang="en-US" sz="1200" dirty="0">
                <a:solidFill>
                  <a:srgbClr val="170D67"/>
                </a:solidFill>
                <a:latin typeface="Arial"/>
              </a:rPr>
              <a:t>PECO’s initial AMI meters were installed in 2012-2016</a:t>
            </a:r>
          </a:p>
          <a:p>
            <a:pPr marL="171450" indent="-171450" defTabSz="514350">
              <a:spcBef>
                <a:spcPts val="450"/>
              </a:spcBef>
            </a:pPr>
            <a:r>
              <a:rPr lang="en-US" sz="1200" dirty="0">
                <a:solidFill>
                  <a:srgbClr val="170D67"/>
                </a:solidFill>
                <a:latin typeface="Arial"/>
              </a:rPr>
              <a:t>Sensus has introduced new functions over the years</a:t>
            </a:r>
          </a:p>
          <a:p>
            <a:pPr marL="342900" lvl="1" indent="-171450" defTabSz="514350">
              <a:spcBef>
                <a:spcPts val="450"/>
              </a:spcBef>
            </a:pPr>
            <a:r>
              <a:rPr lang="en-US" sz="1200" dirty="0">
                <a:solidFill>
                  <a:srgbClr val="170D67"/>
                </a:solidFill>
                <a:latin typeface="Arial"/>
              </a:rPr>
              <a:t>Enhanced Supervisory Messaging (ESM)</a:t>
            </a:r>
          </a:p>
          <a:p>
            <a:pPr marL="342900" lvl="1" indent="-171450" defTabSz="514350">
              <a:spcBef>
                <a:spcPts val="450"/>
              </a:spcBef>
            </a:pPr>
            <a:r>
              <a:rPr lang="en-US" sz="1200" dirty="0">
                <a:solidFill>
                  <a:srgbClr val="170D67"/>
                </a:solidFill>
                <a:latin typeface="Arial"/>
              </a:rPr>
              <a:t>Snapshot Data</a:t>
            </a:r>
          </a:p>
          <a:p>
            <a:pPr marL="342900" lvl="1" indent="-171450" defTabSz="514350">
              <a:spcBef>
                <a:spcPts val="450"/>
              </a:spcBef>
            </a:pPr>
            <a:r>
              <a:rPr lang="en-US" sz="1200" dirty="0">
                <a:solidFill>
                  <a:srgbClr val="170D67"/>
                </a:solidFill>
                <a:latin typeface="Arial"/>
              </a:rPr>
              <a:t>Firmware Upgrades/Enhancements</a:t>
            </a:r>
          </a:p>
          <a:p>
            <a:pPr marL="171450" indent="-171450" defTabSz="514350">
              <a:spcBef>
                <a:spcPts val="450"/>
              </a:spcBef>
            </a:pPr>
            <a:r>
              <a:rPr lang="en-US" sz="1200" dirty="0">
                <a:solidFill>
                  <a:srgbClr val="170D67"/>
                </a:solidFill>
                <a:latin typeface="Arial"/>
              </a:rPr>
              <a:t>Changes driven by both the comms module and the meter</a:t>
            </a:r>
          </a:p>
          <a:p>
            <a:pPr marL="171450" indent="-171450" defTabSz="514350">
              <a:spcBef>
                <a:spcPts val="450"/>
              </a:spcBef>
            </a:pPr>
            <a:endParaRPr lang="en-US" sz="1200" dirty="0">
              <a:solidFill>
                <a:srgbClr val="170D67"/>
              </a:solidFill>
              <a:latin typeface="Arial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F6F6F169-B4E7-AF5B-802C-5B560B7DD59B}"/>
              </a:ext>
            </a:extLst>
          </p:cNvPr>
          <p:cNvGrpSpPr/>
          <p:nvPr/>
        </p:nvGrpSpPr>
        <p:grpSpPr>
          <a:xfrm>
            <a:off x="4866220" y="1200150"/>
            <a:ext cx="1615916" cy="1744504"/>
            <a:chOff x="0" y="0"/>
            <a:chExt cx="2154555" cy="2326005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B7CD0109-7DE9-B9BA-DD50-2DB7496478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01" t="17983" b="25617"/>
            <a:stretch/>
          </p:blipFill>
          <p:spPr bwMode="auto">
            <a:xfrm>
              <a:off x="0" y="0"/>
              <a:ext cx="2154555" cy="2326005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FBBF279A-BB08-4136-797B-E9B66CA59A87}"/>
                </a:ext>
              </a:extLst>
            </p:cNvPr>
            <p:cNvSpPr/>
            <p:nvPr/>
          </p:nvSpPr>
          <p:spPr>
            <a:xfrm>
              <a:off x="524933" y="1460500"/>
              <a:ext cx="192741" cy="98612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defTabSz="685800"/>
              <a:endParaRPr lang="en-US" sz="1350">
                <a:solidFill>
                  <a:srgbClr val="FFFFFF"/>
                </a:solidFill>
                <a:latin typeface="Arial"/>
              </a:endParaRPr>
            </a:p>
          </p:txBody>
        </p:sp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20D50B71-DB81-A968-4232-FC53FBE1650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951" t="27781" r="26734" b="31263"/>
          <a:stretch/>
        </p:blipFill>
        <p:spPr bwMode="auto">
          <a:xfrm>
            <a:off x="6629335" y="1200150"/>
            <a:ext cx="1673066" cy="1732391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69E90929-A7D2-4D04-5E57-EE588AA2E904}"/>
              </a:ext>
            </a:extLst>
          </p:cNvPr>
          <p:cNvSpPr txBox="1"/>
          <p:nvPr/>
        </p:nvSpPr>
        <p:spPr>
          <a:xfrm>
            <a:off x="4955415" y="2949253"/>
            <a:ext cx="1526721" cy="19056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685800">
              <a:lnSpc>
                <a:spcPct val="110000"/>
              </a:lnSpc>
              <a:spcBef>
                <a:spcPts val="900"/>
              </a:spcBef>
              <a:buSzPct val="100000"/>
            </a:pPr>
            <a:r>
              <a:rPr lang="en-US" sz="1200" dirty="0">
                <a:solidFill>
                  <a:srgbClr val="170D67"/>
                </a:solidFill>
                <a:latin typeface="Arial"/>
              </a:rPr>
              <a:t>Aclara i210+c/DT-105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E95442E-D548-4860-7B98-FE15E091BCA0}"/>
              </a:ext>
            </a:extLst>
          </p:cNvPr>
          <p:cNvSpPr txBox="1"/>
          <p:nvPr/>
        </p:nvSpPr>
        <p:spPr>
          <a:xfrm>
            <a:off x="6626350" y="2953851"/>
            <a:ext cx="1526721" cy="19056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685800">
              <a:lnSpc>
                <a:spcPct val="110000"/>
              </a:lnSpc>
              <a:spcBef>
                <a:spcPts val="900"/>
              </a:spcBef>
              <a:buSzPct val="100000"/>
            </a:pPr>
            <a:r>
              <a:rPr lang="en-US" sz="1200" dirty="0">
                <a:solidFill>
                  <a:srgbClr val="170D67"/>
                </a:solidFill>
                <a:latin typeface="Arial"/>
              </a:rPr>
              <a:t>Sensus Stratus IQ/DT-96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A937ED2-BF5C-766B-2B82-2D01F1299A6E}"/>
              </a:ext>
            </a:extLst>
          </p:cNvPr>
          <p:cNvSpPr/>
          <p:nvPr/>
        </p:nvSpPr>
        <p:spPr>
          <a:xfrm>
            <a:off x="2321859" y="5223061"/>
            <a:ext cx="4500282" cy="66338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12700" cap="sq">
            <a:solidFill>
              <a:schemeClr val="accent1"/>
            </a:solidFill>
            <a:miter lim="800000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bg1"/>
          </a:fontRef>
        </p:style>
        <p:txBody>
          <a:bodyPr lIns="102870" rIns="102870" rtlCol="0" anchor="ctr"/>
          <a:lstStyle/>
          <a:p>
            <a:pPr algn="ctr" defTabSz="685800"/>
            <a:r>
              <a:rPr lang="en-US" sz="1200" dirty="0">
                <a:solidFill>
                  <a:srgbClr val="6E06C1"/>
                </a:solidFill>
                <a:latin typeface="Arial"/>
              </a:rPr>
              <a:t>A NextGen Meter is the newest type meter available for use at PECO.  A key characteristic is its ability to support the V2 communications and its enhanced security measures.</a:t>
            </a:r>
          </a:p>
        </p:txBody>
      </p:sp>
    </p:spTree>
    <p:extLst>
      <p:ext uri="{BB962C8B-B14F-4D97-AF65-F5344CB8AC3E}">
        <p14:creationId xmlns:p14="http://schemas.microsoft.com/office/powerpoint/2010/main" val="2116693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452C9B-F996-7F6F-654B-F02B4FAC85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Next Gen AMI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A6AF5B-C011-C5CC-9F0B-5EE83C7D42C0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641841" y="1338731"/>
            <a:ext cx="8106742" cy="5026899"/>
          </a:xfrm>
        </p:spPr>
        <p:txBody>
          <a:bodyPr>
            <a:normAutofit/>
          </a:bodyPr>
          <a:lstStyle/>
          <a:p>
            <a:r>
              <a:rPr lang="en-US" sz="2000" dirty="0"/>
              <a:t>New Meter Functions</a:t>
            </a:r>
          </a:p>
          <a:p>
            <a:pPr lvl="1"/>
            <a:r>
              <a:rPr lang="en-US" sz="1800" dirty="0"/>
              <a:t>V2 Protocol</a:t>
            </a:r>
          </a:p>
          <a:p>
            <a:pPr lvl="1"/>
            <a:r>
              <a:rPr lang="en-US" sz="1800" dirty="0"/>
              <a:t>More Data / Multiple Channels</a:t>
            </a:r>
          </a:p>
          <a:p>
            <a:pPr lvl="1"/>
            <a:r>
              <a:rPr lang="en-US" sz="1800" dirty="0"/>
              <a:t>New Functions</a:t>
            </a:r>
          </a:p>
          <a:p>
            <a:pPr lvl="3"/>
            <a:r>
              <a:rPr lang="en-US" sz="1800" dirty="0"/>
              <a:t>Distributed Intelligence / Grid Edge</a:t>
            </a:r>
          </a:p>
          <a:p>
            <a:pPr lvl="3"/>
            <a:r>
              <a:rPr lang="en-US" sz="1800" dirty="0"/>
              <a:t>Loss of Neutral Detection</a:t>
            </a:r>
          </a:p>
          <a:p>
            <a:pPr lvl="3"/>
            <a:r>
              <a:rPr lang="en-US" sz="1800" dirty="0"/>
              <a:t>Enhanced Temperature Sensing and Action</a:t>
            </a:r>
          </a:p>
          <a:p>
            <a:pPr lvl="1"/>
            <a:r>
              <a:rPr lang="en-US" sz="1800" dirty="0"/>
              <a:t>Ultrasonic Gas Metering</a:t>
            </a:r>
          </a:p>
          <a:p>
            <a:pPr lvl="3"/>
            <a:r>
              <a:rPr lang="en-US" sz="1800" dirty="0"/>
              <a:t>Remote Disconnect</a:t>
            </a:r>
          </a:p>
          <a:p>
            <a:pPr lvl="3"/>
            <a:r>
              <a:rPr lang="en-US" sz="1800" dirty="0"/>
              <a:t>Pressure Sensing</a:t>
            </a:r>
          </a:p>
          <a:p>
            <a:r>
              <a:rPr lang="en-US" sz="2000" dirty="0"/>
              <a:t>Distributed Energy Resources – Solar, Batteries, </a:t>
            </a:r>
            <a:r>
              <a:rPr lang="en-US" sz="2000" dirty="0" err="1"/>
              <a:t>etc</a:t>
            </a:r>
            <a:endParaRPr lang="en-US" sz="2000" dirty="0"/>
          </a:p>
          <a:p>
            <a:r>
              <a:rPr lang="en-US" sz="2000" dirty="0"/>
              <a:t>Electric Vehicles</a:t>
            </a:r>
          </a:p>
          <a:p>
            <a:pPr lvl="2"/>
            <a:r>
              <a:rPr lang="en-US" sz="1600" dirty="0"/>
              <a:t>Load Disaggregation</a:t>
            </a:r>
          </a:p>
          <a:p>
            <a:pPr lvl="2"/>
            <a:r>
              <a:rPr lang="en-US" sz="1600" dirty="0"/>
              <a:t>Charging Management</a:t>
            </a:r>
          </a:p>
          <a:p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672587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D209CC7-7376-2131-873D-D274DC47FA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22565" y="1020424"/>
            <a:ext cx="6098870" cy="4574153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3449559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CE7F7AC-81AC-C9B9-5FDF-47292AB039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68565" y="1049111"/>
            <a:ext cx="5905499" cy="442912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2630114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9845537B-F608-0B1E-DC45-9152EA458E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5407" y="1118503"/>
            <a:ext cx="6889205" cy="3886361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989423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8E825F-0672-476C-A353-8B32843810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6952" y="261218"/>
            <a:ext cx="7146323" cy="518625"/>
          </a:xfrm>
        </p:spPr>
        <p:txBody>
          <a:bodyPr>
            <a:noAutofit/>
          </a:bodyPr>
          <a:lstStyle/>
          <a:p>
            <a:r>
              <a:rPr lang="en-US" sz="3600" dirty="0"/>
              <a:t>Conclusio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F30F70-1A94-4C01-9E9E-94BE9264BC7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8650" y="1520337"/>
            <a:ext cx="8250389" cy="3456110"/>
          </a:xfrm>
        </p:spPr>
        <p:txBody>
          <a:bodyPr>
            <a:normAutofit/>
          </a:bodyPr>
          <a:lstStyle/>
          <a:p>
            <a:r>
              <a:rPr lang="en-US" dirty="0"/>
              <a:t>Meter systems continue to evolve and increase functionality</a:t>
            </a:r>
          </a:p>
          <a:p>
            <a:r>
              <a:rPr lang="en-US" dirty="0"/>
              <a:t>NextGen Meters and AMI 2.0 are two similar manifestations of this evolution</a:t>
            </a:r>
          </a:p>
          <a:p>
            <a:r>
              <a:rPr lang="en-US" dirty="0"/>
              <a:t>Many of the initial deployments are nearing their useful end of life, leading to significant decisions by the AMI Operator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B2BEC14-657A-4353-A91B-AC0C75796BE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tescometering.com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E412355-8E3C-4801-B3BD-2B6789E048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BEAC4C4-F0A7-4B61-A827-E4198D078267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148127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877A0247-A817-82D5-E401-B8685D9D09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endix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EB8F95B-7A8B-41DE-5969-5E81B3DD2A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CBE88DB-F710-4C66-9753-AEF62A9AB3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tescometering.co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C8A5861-5583-451E-A93A-2602249B26F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C4C4-F0A7-4B61-A827-E4198D078267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255488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7C65AD-91C0-4DE5-9BCC-DBDFD151EE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2438" y="570261"/>
            <a:ext cx="6927924" cy="3442130"/>
          </a:xfrm>
        </p:spPr>
        <p:txBody>
          <a:bodyPr/>
          <a:lstStyle/>
          <a:p>
            <a:r>
              <a:rPr lang="en-US" sz="7200" dirty="0"/>
              <a:t>PECO’s SGSM Team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F13C88-5E3F-4FC2-BED9-C351442034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078297-4C2D-40A6-9300-7C91B8680A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tescometering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DFC95B-E6C3-4D38-B0C2-5B6ADB0D1D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C4C4-F0A7-4B61-A827-E4198D078267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506621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7C65AD-91C0-4DE5-9BCC-DBDFD151EE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2438" y="570261"/>
            <a:ext cx="6927924" cy="3442130"/>
          </a:xfrm>
        </p:spPr>
        <p:txBody>
          <a:bodyPr/>
          <a:lstStyle/>
          <a:p>
            <a:r>
              <a:rPr lang="en-US" sz="7200" dirty="0"/>
              <a:t>PECO’s AMI Deploymen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F13C88-5E3F-4FC2-BED9-C351442034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078297-4C2D-40A6-9300-7C91B8680A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tescometering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DFC95B-E6C3-4D38-B0C2-5B6ADB0D1D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C4C4-F0A7-4B61-A827-E4198D078267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34499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Diagram 4"/>
          <p:cNvGraphicFramePr/>
          <p:nvPr/>
        </p:nvGraphicFramePr>
        <p:xfrm>
          <a:off x="342900" y="1577340"/>
          <a:ext cx="8659369" cy="37170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aphicFrame>
        <p:nvGraphicFramePr>
          <p:cNvPr id="1026" name="Object 2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3000" y="85725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1026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000" y="857250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3"/>
          <p:cNvSpPr>
            <a:spLocks noGrp="1"/>
          </p:cNvSpPr>
          <p:nvPr>
            <p:ph type="title"/>
          </p:nvPr>
        </p:nvSpPr>
        <p:spPr>
          <a:xfrm>
            <a:off x="369188" y="291465"/>
            <a:ext cx="8606791" cy="754380"/>
          </a:xfrm>
        </p:spPr>
        <p:txBody>
          <a:bodyPr/>
          <a:lstStyle/>
          <a:p>
            <a:pPr eaLnBrk="1" hangingPunct="1"/>
            <a:r>
              <a:rPr lang="en-US" sz="3600" dirty="0"/>
              <a:t>PECO F&amp;MS and SGS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F8783AB-AC46-4F2E-B98C-BFB1C848CF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857250"/>
            <a:ext cx="533400" cy="342900"/>
          </a:xfrm>
        </p:spPr>
        <p:txBody>
          <a:bodyPr/>
          <a:lstStyle/>
          <a:p>
            <a:pPr algn="r" defTabSz="685800">
              <a:defRPr/>
            </a:pPr>
            <a:fld id="{82879461-197C-4EFB-A949-6DA4635D1713}" type="slidenum">
              <a:rPr lang="en-US" sz="90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pPr algn="r" defTabSz="685800">
                <a:defRPr/>
              </a:pPr>
              <a:t>30</a:t>
            </a:fld>
            <a:endParaRPr lang="en-US" sz="900" dirty="0">
              <a:solidFill>
                <a:srgbClr val="000000">
                  <a:tint val="75000"/>
                </a:srgbClr>
              </a:solidFill>
              <a:latin typeface="Arial" panose="020B0604020202020204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600C1D3-571F-3ECC-A4E3-67ED4DA3B0AD}"/>
              </a:ext>
            </a:extLst>
          </p:cNvPr>
          <p:cNvSpPr txBox="1"/>
          <p:nvPr/>
        </p:nvSpPr>
        <p:spPr>
          <a:xfrm>
            <a:off x="7238177" y="4911070"/>
            <a:ext cx="1764092" cy="407194"/>
          </a:xfrm>
          <a:prstGeom prst="rect">
            <a:avLst/>
          </a:prstGeom>
          <a:solidFill>
            <a:schemeClr val="bg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>
            <a:noAutofit/>
          </a:bodyPr>
          <a:lstStyle/>
          <a:p>
            <a:pPr algn="ctr" defTabSz="685800">
              <a:lnSpc>
                <a:spcPct val="110000"/>
              </a:lnSpc>
              <a:spcBef>
                <a:spcPts val="900"/>
              </a:spcBef>
              <a:buSzPct val="100000"/>
            </a:pPr>
            <a:r>
              <a:rPr lang="en-US" sz="1050" dirty="0">
                <a:solidFill>
                  <a:srgbClr val="170D67"/>
                </a:solidFill>
                <a:latin typeface="Arial"/>
              </a:rPr>
              <a:t>Smart Meter Strategy &amp; Distribution Automation 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CB7B0CA-9404-7884-4C98-6C1C9C5B0067}"/>
              </a:ext>
            </a:extLst>
          </p:cNvPr>
          <p:cNvSpPr txBox="1"/>
          <p:nvPr/>
        </p:nvSpPr>
        <p:spPr>
          <a:xfrm>
            <a:off x="2651960" y="4887183"/>
            <a:ext cx="1764092" cy="407194"/>
          </a:xfrm>
          <a:prstGeom prst="rect">
            <a:avLst/>
          </a:prstGeom>
          <a:solidFill>
            <a:schemeClr val="bg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ts val="1200"/>
              </a:spcBef>
              <a:buSzPct val="100000"/>
              <a:defRPr sz="14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685800">
              <a:spcBef>
                <a:spcPts val="900"/>
              </a:spcBef>
            </a:pPr>
            <a:r>
              <a:rPr lang="en-US" sz="1050" dirty="0">
                <a:solidFill>
                  <a:srgbClr val="170D67"/>
                </a:solidFill>
                <a:latin typeface="Arial"/>
              </a:rPr>
              <a:t>Data Analytics and Back Office opera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67143CA-1031-D42F-4C49-DFB7F9B89088}"/>
              </a:ext>
            </a:extLst>
          </p:cNvPr>
          <p:cNvSpPr txBox="1"/>
          <p:nvPr/>
        </p:nvSpPr>
        <p:spPr>
          <a:xfrm>
            <a:off x="546259" y="4913092"/>
            <a:ext cx="1431608" cy="407194"/>
          </a:xfrm>
          <a:prstGeom prst="rect">
            <a:avLst/>
          </a:prstGeom>
          <a:solidFill>
            <a:schemeClr val="bg2"/>
          </a:solidFill>
          <a:ln>
            <a:solidFill>
              <a:schemeClr val="bg1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lIns="0" tIns="0" rIns="0" bIns="0" rtlCol="0">
            <a:noAutofit/>
          </a:bodyPr>
          <a:lstStyle>
            <a:defPPr>
              <a:defRPr lang="en-US"/>
            </a:defPPr>
            <a:lvl1pPr algn="ctr">
              <a:lnSpc>
                <a:spcPct val="110000"/>
              </a:lnSpc>
              <a:spcBef>
                <a:spcPts val="1200"/>
              </a:spcBef>
              <a:buSzPct val="100000"/>
              <a:defRPr sz="1400">
                <a:solidFill>
                  <a:schemeClr val="accen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defTabSz="685800">
              <a:spcBef>
                <a:spcPts val="900"/>
              </a:spcBef>
            </a:pPr>
            <a:r>
              <a:rPr lang="en-US" sz="1050" dirty="0">
                <a:solidFill>
                  <a:srgbClr val="170D67"/>
                </a:solidFill>
                <a:latin typeface="Arial"/>
              </a:rPr>
              <a:t>Field Operation</a:t>
            </a:r>
          </a:p>
        </p:txBody>
      </p:sp>
    </p:spTree>
    <p:extLst>
      <p:ext uri="{BB962C8B-B14F-4D97-AF65-F5344CB8AC3E}">
        <p14:creationId xmlns:p14="http://schemas.microsoft.com/office/powerpoint/2010/main" val="3928821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3000" y="85725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026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000" y="857250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2405062110"/>
              </p:ext>
            </p:extLst>
          </p:nvPr>
        </p:nvGraphicFramePr>
        <p:xfrm>
          <a:off x="242316" y="1297744"/>
          <a:ext cx="8558784" cy="49008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028" name="Title 3"/>
          <p:cNvSpPr>
            <a:spLocks noGrp="1"/>
          </p:cNvSpPr>
          <p:nvPr>
            <p:ph type="title"/>
          </p:nvPr>
        </p:nvSpPr>
        <p:spPr>
          <a:xfrm>
            <a:off x="342899" y="319345"/>
            <a:ext cx="8606791" cy="754380"/>
          </a:xfrm>
        </p:spPr>
        <p:txBody>
          <a:bodyPr/>
          <a:lstStyle/>
          <a:p>
            <a:pPr eaLnBrk="1" hangingPunct="1"/>
            <a:r>
              <a:rPr lang="en-US" sz="3600" dirty="0"/>
              <a:t>PECO F&amp;MS and SGS – SG Ops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F8783AB-AC46-4F2E-B98C-BFB1C848CF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857250"/>
            <a:ext cx="533400" cy="342900"/>
          </a:xfrm>
        </p:spPr>
        <p:txBody>
          <a:bodyPr/>
          <a:lstStyle/>
          <a:p>
            <a:pPr algn="r" defTabSz="685800">
              <a:defRPr/>
            </a:pPr>
            <a:fld id="{82879461-197C-4EFB-A949-6DA4635D1713}" type="slidenum">
              <a:rPr lang="en-US" sz="90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pPr algn="r" defTabSz="685800">
                <a:defRPr/>
              </a:pPr>
              <a:t>31</a:t>
            </a:fld>
            <a:endParaRPr lang="en-US" sz="900" dirty="0">
              <a:solidFill>
                <a:srgbClr val="000000">
                  <a:tint val="75000"/>
                </a:srgbClr>
              </a:solidFill>
              <a:latin typeface="Arial" panose="020B0604020202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9C6B1CD-D9BB-D195-D17D-48D64077443A}"/>
              </a:ext>
            </a:extLst>
          </p:cNvPr>
          <p:cNvSpPr txBox="1"/>
          <p:nvPr/>
        </p:nvSpPr>
        <p:spPr>
          <a:xfrm>
            <a:off x="758306" y="3188792"/>
            <a:ext cx="1241298" cy="2606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685800">
              <a:lnSpc>
                <a:spcPct val="110000"/>
              </a:lnSpc>
              <a:spcBef>
                <a:spcPts val="900"/>
              </a:spcBef>
              <a:buSzPct val="100000"/>
            </a:pPr>
            <a:r>
              <a:rPr lang="en-US" sz="1200" dirty="0">
                <a:solidFill>
                  <a:srgbClr val="170D67"/>
                </a:solidFill>
                <a:latin typeface="Arial"/>
              </a:rPr>
              <a:t>Luv Gera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169B6C2-F798-FAE2-0242-461465E44C4F}"/>
              </a:ext>
            </a:extLst>
          </p:cNvPr>
          <p:cNvSpPr txBox="1"/>
          <p:nvPr/>
        </p:nvSpPr>
        <p:spPr>
          <a:xfrm>
            <a:off x="2826530" y="3186022"/>
            <a:ext cx="1241298" cy="2606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685800">
              <a:lnSpc>
                <a:spcPct val="110000"/>
              </a:lnSpc>
              <a:spcBef>
                <a:spcPts val="900"/>
              </a:spcBef>
              <a:buSzPct val="100000"/>
            </a:pPr>
            <a:r>
              <a:rPr lang="en-US" sz="1200" dirty="0">
                <a:solidFill>
                  <a:srgbClr val="170D67"/>
                </a:solidFill>
                <a:latin typeface="Arial"/>
              </a:rPr>
              <a:t>Rasheeda Clark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ECEC888-EEDB-8709-6132-E14AEBC8CE53}"/>
              </a:ext>
            </a:extLst>
          </p:cNvPr>
          <p:cNvSpPr txBox="1"/>
          <p:nvPr/>
        </p:nvSpPr>
        <p:spPr>
          <a:xfrm>
            <a:off x="4646295" y="3190694"/>
            <a:ext cx="1241298" cy="2606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685800">
              <a:lnSpc>
                <a:spcPct val="110000"/>
              </a:lnSpc>
              <a:spcBef>
                <a:spcPts val="900"/>
              </a:spcBef>
              <a:buSzPct val="100000"/>
            </a:pPr>
            <a:r>
              <a:rPr lang="en-US" sz="1200" dirty="0">
                <a:solidFill>
                  <a:srgbClr val="170D67"/>
                </a:solidFill>
                <a:latin typeface="Arial"/>
              </a:rPr>
              <a:t>Anthony Portelli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17F2858-1C22-F649-D296-550541BC8DFB}"/>
              </a:ext>
            </a:extLst>
          </p:cNvPr>
          <p:cNvSpPr txBox="1"/>
          <p:nvPr/>
        </p:nvSpPr>
        <p:spPr>
          <a:xfrm>
            <a:off x="6833485" y="3131858"/>
            <a:ext cx="1241298" cy="2606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685800">
              <a:lnSpc>
                <a:spcPct val="110000"/>
              </a:lnSpc>
              <a:spcBef>
                <a:spcPts val="900"/>
              </a:spcBef>
              <a:buSzPct val="100000"/>
            </a:pPr>
            <a:r>
              <a:rPr lang="en-US" sz="1200" dirty="0">
                <a:solidFill>
                  <a:srgbClr val="170D67"/>
                </a:solidFill>
                <a:latin typeface="Arial"/>
              </a:rPr>
              <a:t>Lamar Ellis </a:t>
            </a:r>
          </a:p>
        </p:txBody>
      </p:sp>
    </p:spTree>
    <p:extLst>
      <p:ext uri="{BB962C8B-B14F-4D97-AF65-F5344CB8AC3E}">
        <p14:creationId xmlns:p14="http://schemas.microsoft.com/office/powerpoint/2010/main" val="19109186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3000" y="85725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026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000" y="857250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Diagram 4"/>
          <p:cNvGraphicFramePr/>
          <p:nvPr/>
        </p:nvGraphicFramePr>
        <p:xfrm>
          <a:off x="419100" y="1792027"/>
          <a:ext cx="8035291" cy="38658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028" name="Title 3"/>
          <p:cNvSpPr>
            <a:spLocks noGrp="1"/>
          </p:cNvSpPr>
          <p:nvPr>
            <p:ph type="title"/>
          </p:nvPr>
        </p:nvSpPr>
        <p:spPr>
          <a:xfrm>
            <a:off x="419100" y="396622"/>
            <a:ext cx="8606791" cy="754380"/>
          </a:xfrm>
        </p:spPr>
        <p:txBody>
          <a:bodyPr/>
          <a:lstStyle/>
          <a:p>
            <a:pPr eaLnBrk="1" hangingPunct="1"/>
            <a:r>
              <a:rPr lang="en-US" sz="3600" dirty="0"/>
              <a:t>PECO F&amp;MS and SGS –  SG COE (Engineering) 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F8783AB-AC46-4F2E-B98C-BFB1C848CF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857250"/>
            <a:ext cx="533400" cy="342900"/>
          </a:xfrm>
        </p:spPr>
        <p:txBody>
          <a:bodyPr/>
          <a:lstStyle/>
          <a:p>
            <a:pPr algn="r" defTabSz="685800">
              <a:defRPr/>
            </a:pPr>
            <a:fld id="{82879461-197C-4EFB-A949-6DA4635D1713}" type="slidenum">
              <a:rPr lang="en-US" sz="90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pPr algn="r" defTabSz="685800">
                <a:defRPr/>
              </a:pPr>
              <a:t>32</a:t>
            </a:fld>
            <a:endParaRPr lang="en-US" sz="900" dirty="0">
              <a:solidFill>
                <a:srgbClr val="000000">
                  <a:tint val="75000"/>
                </a:srgbClr>
              </a:solidFill>
              <a:latin typeface="Arial" panose="020B0604020202020204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9C6B1CD-D9BB-D195-D17D-48D64077443A}"/>
              </a:ext>
            </a:extLst>
          </p:cNvPr>
          <p:cNvSpPr txBox="1"/>
          <p:nvPr/>
        </p:nvSpPr>
        <p:spPr>
          <a:xfrm>
            <a:off x="2304408" y="3284060"/>
            <a:ext cx="1241298" cy="2606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685800">
              <a:lnSpc>
                <a:spcPct val="110000"/>
              </a:lnSpc>
              <a:spcBef>
                <a:spcPts val="900"/>
              </a:spcBef>
              <a:buSzPct val="100000"/>
            </a:pPr>
            <a:r>
              <a:rPr lang="en-US" sz="1200" dirty="0">
                <a:solidFill>
                  <a:srgbClr val="170D67"/>
                </a:solidFill>
                <a:latin typeface="Arial"/>
              </a:rPr>
              <a:t>Nate Nichol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33FDDF6-9BB0-83B6-607E-6CB3281E6D69}"/>
              </a:ext>
            </a:extLst>
          </p:cNvPr>
          <p:cNvSpPr txBox="1"/>
          <p:nvPr/>
        </p:nvSpPr>
        <p:spPr>
          <a:xfrm>
            <a:off x="5280728" y="3284060"/>
            <a:ext cx="1241298" cy="2606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685800">
              <a:lnSpc>
                <a:spcPct val="110000"/>
              </a:lnSpc>
              <a:spcBef>
                <a:spcPts val="900"/>
              </a:spcBef>
              <a:buSzPct val="100000"/>
            </a:pPr>
            <a:r>
              <a:rPr lang="en-US" sz="1200" dirty="0">
                <a:solidFill>
                  <a:srgbClr val="170D67"/>
                </a:solidFill>
                <a:latin typeface="Arial"/>
              </a:rPr>
              <a:t>Marc Bourrie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BA38B1-FE69-1C6A-F75C-37A094F95785}"/>
              </a:ext>
            </a:extLst>
          </p:cNvPr>
          <p:cNvSpPr txBox="1"/>
          <p:nvPr/>
        </p:nvSpPr>
        <p:spPr>
          <a:xfrm>
            <a:off x="7093345" y="3274124"/>
            <a:ext cx="1241298" cy="260604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noAutofit/>
          </a:bodyPr>
          <a:lstStyle/>
          <a:p>
            <a:pPr algn="ctr" defTabSz="685800">
              <a:lnSpc>
                <a:spcPct val="110000"/>
              </a:lnSpc>
              <a:spcBef>
                <a:spcPts val="900"/>
              </a:spcBef>
              <a:buSzPct val="100000"/>
            </a:pPr>
            <a:r>
              <a:rPr lang="en-US" sz="1200" dirty="0">
                <a:solidFill>
                  <a:srgbClr val="170D67"/>
                </a:solidFill>
                <a:latin typeface="Arial"/>
              </a:rPr>
              <a:t>Open</a:t>
            </a:r>
          </a:p>
        </p:txBody>
      </p:sp>
    </p:spTree>
    <p:extLst>
      <p:ext uri="{BB962C8B-B14F-4D97-AF65-F5344CB8AC3E}">
        <p14:creationId xmlns:p14="http://schemas.microsoft.com/office/powerpoint/2010/main" val="3857443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3000" y="857250"/>
          <a:ext cx="119063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026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000" y="857250"/>
                        <a:ext cx="119063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Diagram 4"/>
          <p:cNvGraphicFramePr/>
          <p:nvPr/>
        </p:nvGraphicFramePr>
        <p:xfrm>
          <a:off x="194310" y="1577340"/>
          <a:ext cx="8659369" cy="37170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028" name="Title 3"/>
          <p:cNvSpPr>
            <a:spLocks noGrp="1"/>
          </p:cNvSpPr>
          <p:nvPr>
            <p:ph type="title"/>
          </p:nvPr>
        </p:nvSpPr>
        <p:spPr>
          <a:xfrm>
            <a:off x="388618" y="257175"/>
            <a:ext cx="8755382" cy="754380"/>
          </a:xfrm>
        </p:spPr>
        <p:txBody>
          <a:bodyPr/>
          <a:lstStyle/>
          <a:p>
            <a:pPr eaLnBrk="1" hangingPunct="1"/>
            <a:r>
              <a:rPr lang="en-US" sz="3600" dirty="0"/>
              <a:t>PECO F&amp;MS and SGS – Meter </a:t>
            </a:r>
            <a:r>
              <a:rPr lang="en-US" sz="3600" dirty="0" err="1"/>
              <a:t>Maint</a:t>
            </a:r>
            <a:endParaRPr lang="en-US" sz="3600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F8783AB-AC46-4F2E-B98C-BFB1C848CF9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857250"/>
            <a:ext cx="533400" cy="342900"/>
          </a:xfrm>
        </p:spPr>
        <p:txBody>
          <a:bodyPr/>
          <a:lstStyle/>
          <a:p>
            <a:pPr algn="r" defTabSz="685800">
              <a:defRPr/>
            </a:pPr>
            <a:fld id="{82879461-197C-4EFB-A949-6DA4635D1713}" type="slidenum">
              <a:rPr lang="en-US" sz="900">
                <a:solidFill>
                  <a:srgbClr val="000000">
                    <a:tint val="75000"/>
                  </a:srgbClr>
                </a:solidFill>
                <a:latin typeface="Arial" panose="020B0604020202020204"/>
              </a:rPr>
              <a:pPr algn="r" defTabSz="685800">
                <a:defRPr/>
              </a:pPr>
              <a:t>33</a:t>
            </a:fld>
            <a:endParaRPr lang="en-US" sz="900" dirty="0">
              <a:solidFill>
                <a:srgbClr val="000000">
                  <a:tint val="75000"/>
                </a:srgbClr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266959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7C65AD-91C0-4DE5-9BCC-DBDFD151EE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2438" y="570261"/>
            <a:ext cx="6927924" cy="3442130"/>
          </a:xfrm>
        </p:spPr>
        <p:txBody>
          <a:bodyPr/>
          <a:lstStyle/>
          <a:p>
            <a:endParaRPr lang="en-US" sz="72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F13C88-5E3F-4FC2-BED9-C351442034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078297-4C2D-40A6-9300-7C91B8680A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tescometering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DFC95B-E6C3-4D38-B0C2-5B6ADB0D1D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C4C4-F0A7-4B61-A827-E4198D078267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39177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2F7CD44A-F3E7-1116-1D87-D2739C8E4E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473" y="443593"/>
            <a:ext cx="7012781" cy="685800"/>
          </a:xfrm>
        </p:spPr>
        <p:txBody>
          <a:bodyPr anchor="t">
            <a:normAutofit/>
          </a:bodyPr>
          <a:lstStyle/>
          <a:p>
            <a:r>
              <a:rPr lang="en-US" dirty="0"/>
              <a:t>AMI at PECO	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9D41D59-A47A-F651-9431-AC55D4E4D5C5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342898" y="1344768"/>
            <a:ext cx="5793585" cy="4519909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1400" dirty="0"/>
              <a:t>PECO is located in Southeastern Pennsylvania, serving Philadelphia and the surrounding counties</a:t>
            </a:r>
          </a:p>
          <a:p>
            <a:pPr>
              <a:lnSpc>
                <a:spcPct val="100000"/>
              </a:lnSpc>
            </a:pPr>
            <a:r>
              <a:rPr lang="en-US" sz="1400" dirty="0"/>
              <a:t>PECO installed a </a:t>
            </a:r>
            <a:r>
              <a:rPr lang="en-US" sz="1400" dirty="0">
                <a:solidFill>
                  <a:srgbClr val="00B0F0"/>
                </a:solidFill>
              </a:rPr>
              <a:t>Sensus FlexNet AMI platform </a:t>
            </a:r>
            <a:r>
              <a:rPr lang="en-US" sz="1400" dirty="0"/>
              <a:t>from 2011-2016</a:t>
            </a:r>
          </a:p>
          <a:p>
            <a:pPr>
              <a:lnSpc>
                <a:spcPct val="100000"/>
              </a:lnSpc>
            </a:pPr>
            <a:r>
              <a:rPr lang="en-US" sz="1400" dirty="0"/>
              <a:t>The system serves: </a:t>
            </a:r>
          </a:p>
          <a:p>
            <a:pPr lvl="1">
              <a:lnSpc>
                <a:spcPct val="100000"/>
              </a:lnSpc>
            </a:pPr>
            <a:r>
              <a:rPr lang="en-US" sz="1400" dirty="0">
                <a:solidFill>
                  <a:srgbClr val="00B0F0"/>
                </a:solidFill>
              </a:rPr>
              <a:t>1.725M electric meters</a:t>
            </a:r>
          </a:p>
          <a:p>
            <a:pPr lvl="1">
              <a:lnSpc>
                <a:spcPct val="100000"/>
              </a:lnSpc>
            </a:pPr>
            <a:r>
              <a:rPr lang="en-US" sz="1400" dirty="0"/>
              <a:t>550k gas meters</a:t>
            </a:r>
          </a:p>
          <a:p>
            <a:pPr lvl="1">
              <a:lnSpc>
                <a:spcPct val="100000"/>
              </a:lnSpc>
            </a:pPr>
            <a:r>
              <a:rPr lang="en-US" sz="1400" dirty="0"/>
              <a:t>4,200+ Distribution Automation devices (Reclosers, Capacitors, FCI’s, </a:t>
            </a:r>
            <a:r>
              <a:rPr lang="en-US" sz="1400" dirty="0" err="1"/>
              <a:t>etc</a:t>
            </a:r>
            <a:r>
              <a:rPr lang="en-US" sz="1400" dirty="0"/>
              <a:t>)</a:t>
            </a:r>
          </a:p>
          <a:p>
            <a:pPr>
              <a:lnSpc>
                <a:spcPct val="100000"/>
              </a:lnSpc>
            </a:pPr>
            <a:r>
              <a:rPr lang="en-US" sz="1400" dirty="0"/>
              <a:t>Initial goals of the AMI deployment included:</a:t>
            </a:r>
          </a:p>
          <a:p>
            <a:pPr lvl="1">
              <a:lnSpc>
                <a:spcPct val="100000"/>
              </a:lnSpc>
            </a:pPr>
            <a:r>
              <a:rPr lang="en-US" sz="1400" dirty="0"/>
              <a:t>Meeting Pa. Act 129 of 2008 required meter functionality, including</a:t>
            </a:r>
          </a:p>
          <a:p>
            <a:pPr lvl="2">
              <a:lnSpc>
                <a:spcPct val="100000"/>
              </a:lnSpc>
            </a:pPr>
            <a:r>
              <a:rPr lang="en-US" sz="1400" dirty="0"/>
              <a:t>Hourly interval data (15 minute or faster as needed)</a:t>
            </a:r>
          </a:p>
          <a:p>
            <a:pPr lvl="2">
              <a:lnSpc>
                <a:spcPct val="100000"/>
              </a:lnSpc>
            </a:pPr>
            <a:r>
              <a:rPr lang="en-US" sz="1400" dirty="0"/>
              <a:t>Remote disconnect &amp; connect</a:t>
            </a:r>
          </a:p>
          <a:p>
            <a:pPr lvl="2">
              <a:lnSpc>
                <a:spcPct val="100000"/>
              </a:lnSpc>
            </a:pPr>
            <a:r>
              <a:rPr lang="en-US" sz="1400" dirty="0"/>
              <a:t>Outage Alarming</a:t>
            </a:r>
          </a:p>
          <a:p>
            <a:pPr lvl="1">
              <a:lnSpc>
                <a:spcPct val="100000"/>
              </a:lnSpc>
            </a:pPr>
            <a:r>
              <a:rPr lang="en-US" sz="1400" dirty="0"/>
              <a:t>Meeting and exceeding performance levels of the existing </a:t>
            </a:r>
            <a:r>
              <a:rPr lang="en-US" sz="1400" dirty="0" err="1"/>
              <a:t>Ladis+Gyr</a:t>
            </a:r>
            <a:r>
              <a:rPr lang="en-US" sz="1400" dirty="0"/>
              <a:t> </a:t>
            </a:r>
            <a:r>
              <a:rPr lang="en-US" sz="1400" dirty="0" err="1"/>
              <a:t>CellNet</a:t>
            </a:r>
            <a:r>
              <a:rPr lang="en-US" sz="1400" dirty="0"/>
              <a:t> AMR system</a:t>
            </a:r>
          </a:p>
          <a:p>
            <a:pPr lvl="1">
              <a:lnSpc>
                <a:spcPct val="100000"/>
              </a:lnSpc>
            </a:pPr>
            <a:r>
              <a:rPr lang="en-US" sz="1400" dirty="0"/>
              <a:t>Creating opportunities to expand and deliver enhanced functions that leverage the network and meters</a:t>
            </a:r>
          </a:p>
        </p:txBody>
      </p:sp>
      <p:pic>
        <p:nvPicPr>
          <p:cNvPr id="8" name="Picture 7" descr="A round white and green device with a digital display&#10;&#10;Description automatically generated with medium confidence">
            <a:extLst>
              <a:ext uri="{FF2B5EF4-FFF2-40B4-BE49-F238E27FC236}">
                <a16:creationId xmlns:a16="http://schemas.microsoft.com/office/drawing/2014/main" id="{391BD7C8-69E0-F12F-CE48-820CA96A0D6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6483" y="2426041"/>
            <a:ext cx="2664620" cy="2828878"/>
          </a:xfrm>
          <a:prstGeom prst="rect">
            <a:avLst/>
          </a:prstGeom>
          <a:noFill/>
          <a:effectLst>
            <a:softEdge rad="317500"/>
          </a:effectLst>
        </p:spPr>
      </p:pic>
    </p:spTree>
    <p:extLst>
      <p:ext uri="{BB962C8B-B14F-4D97-AF65-F5344CB8AC3E}">
        <p14:creationId xmlns:p14="http://schemas.microsoft.com/office/powerpoint/2010/main" val="2631897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543F14-5CB4-49AC-BD53-A236402037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17072" y="99580"/>
            <a:ext cx="7358499" cy="934865"/>
          </a:xfrm>
        </p:spPr>
        <p:txBody>
          <a:bodyPr>
            <a:normAutofit/>
          </a:bodyPr>
          <a:lstStyle/>
          <a:p>
            <a:r>
              <a:rPr lang="en-US" sz="3600" dirty="0"/>
              <a:t>AMI Background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8298E3-FE42-4B76-88F9-CC4403C16CF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tescometering.com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BD28621-06E0-4F9F-B64E-EE06D93AC0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C4C4-F0A7-4B61-A827-E4198D078267}" type="slidenum">
              <a:rPr lang="en-US" smtClean="0"/>
              <a:t>5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6AE4BF8-8968-C504-82CB-A6FDAF65B5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870" y="1034445"/>
            <a:ext cx="5759159" cy="431936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56C7FEB-A09C-B82D-8F51-91662FE709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57449" y="2219546"/>
            <a:ext cx="5759159" cy="431936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1137845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97C65AD-91C0-4DE5-9BCC-DBDFD151EE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22438" y="570261"/>
            <a:ext cx="6927924" cy="3442130"/>
          </a:xfrm>
        </p:spPr>
        <p:txBody>
          <a:bodyPr/>
          <a:lstStyle/>
          <a:p>
            <a:r>
              <a:rPr lang="en-US" sz="7200" dirty="0"/>
              <a:t>Meter </a:t>
            </a:r>
            <a:r>
              <a:rPr lang="en-US" sz="7200" dirty="0" err="1"/>
              <a:t>Obsolescense</a:t>
            </a:r>
            <a:endParaRPr lang="en-US" sz="72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F13C88-5E3F-4FC2-BED9-C351442034C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7078297-4C2D-40A6-9300-7C91B8680AC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tescometering.com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DFC95B-E6C3-4D38-B0C2-5B6ADB0D1D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BEAC4C4-F0A7-4B61-A827-E4198D078267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3811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52985C41-2EDD-DD8D-3147-EE38D98A3FD7}"/>
              </a:ext>
            </a:extLst>
          </p:cNvPr>
          <p:cNvSpPr/>
          <p:nvPr/>
        </p:nvSpPr>
        <p:spPr>
          <a:xfrm>
            <a:off x="336741" y="4429977"/>
            <a:ext cx="8349700" cy="796682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 w="12700" cap="sq">
            <a:solidFill>
              <a:schemeClr val="accent1"/>
            </a:solidFill>
            <a:miter lim="800000"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rgbClr val="000000"/>
          </a:effectRef>
          <a:fontRef idx="minor">
            <a:schemeClr val="bg1"/>
          </a:fontRef>
        </p:style>
        <p:txBody>
          <a:bodyPr lIns="102870" rIns="102870" rtlCol="0" anchor="ctr"/>
          <a:lstStyle/>
          <a:p>
            <a:pPr defTabSz="685800"/>
            <a:endParaRPr lang="en-US" sz="120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D0042F-4143-4B34-9AF5-77C9A2D55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10" y="1325551"/>
            <a:ext cx="8229330" cy="332399"/>
          </a:xfrm>
        </p:spPr>
        <p:txBody>
          <a:bodyPr/>
          <a:lstStyle/>
          <a:p>
            <a:r>
              <a:rPr lang="en-US" dirty="0"/>
              <a:t>Meter Lifecyc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23BBD8-4D81-413C-8C44-53C1CB0F834B}"/>
              </a:ext>
            </a:extLst>
          </p:cNvPr>
          <p:cNvSpPr>
            <a:spLocks noGrp="1"/>
          </p:cNvSpPr>
          <p:nvPr>
            <p:ph type="body"/>
          </p:nvPr>
        </p:nvSpPr>
        <p:spPr>
          <a:xfrm>
            <a:off x="457110" y="2037571"/>
            <a:ext cx="8229330" cy="2008242"/>
          </a:xfrm>
        </p:spPr>
        <p:txBody>
          <a:bodyPr anchor="t"/>
          <a:lstStyle/>
          <a:p>
            <a:pPr marL="428625" indent="-428625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New Smart Meters have a finite useful life (15-20yrs)</a:t>
            </a:r>
          </a:p>
          <a:p>
            <a:pPr marL="428625" indent="-428625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It is important to recognize that there will be a future need to replace both the meters and the networks</a:t>
            </a:r>
          </a:p>
          <a:p>
            <a:pPr marL="428625" indent="-428625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Is a future full redeployment an option?</a:t>
            </a:r>
          </a:p>
          <a:p>
            <a:pPr marL="428625" indent="-428625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What about a future annual replacement plan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A2495CC-AD38-4969-850E-3DCC60F29780}"/>
              </a:ext>
            </a:extLst>
          </p:cNvPr>
          <p:cNvSpPr txBox="1"/>
          <p:nvPr/>
        </p:nvSpPr>
        <p:spPr>
          <a:xfrm>
            <a:off x="527767" y="4508805"/>
            <a:ext cx="815867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/>
            <a:r>
              <a:rPr lang="en-US" i="1" dirty="0">
                <a:solidFill>
                  <a:srgbClr val="0070C0"/>
                </a:solidFill>
                <a:latin typeface="Arial"/>
              </a:rPr>
              <a:t>It pays to plan for this now, account for it in your Long-Range Financial Plans</a:t>
            </a:r>
          </a:p>
          <a:p>
            <a:pPr defTabSz="685800"/>
            <a:r>
              <a:rPr lang="en-US" i="1" dirty="0">
                <a:solidFill>
                  <a:srgbClr val="0070C0"/>
                </a:solidFill>
                <a:latin typeface="Arial"/>
              </a:rPr>
              <a:t>It is also advisable to include your regulators and stakeholders</a:t>
            </a:r>
          </a:p>
        </p:txBody>
      </p:sp>
    </p:spTree>
    <p:extLst>
      <p:ext uri="{BB962C8B-B14F-4D97-AF65-F5344CB8AC3E}">
        <p14:creationId xmlns:p14="http://schemas.microsoft.com/office/powerpoint/2010/main" val="18440564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8" name="Rectangle 3"/>
          <p:cNvSpPr>
            <a:spLocks noGrp="1" noChangeArrowheads="1"/>
          </p:cNvSpPr>
          <p:nvPr>
            <p:ph type="title"/>
          </p:nvPr>
        </p:nvSpPr>
        <p:spPr>
          <a:xfrm>
            <a:off x="514350" y="405370"/>
            <a:ext cx="6457950" cy="400050"/>
          </a:xfrm>
        </p:spPr>
        <p:txBody>
          <a:bodyPr/>
          <a:lstStyle/>
          <a:p>
            <a:pPr eaLnBrk="1" hangingPunct="1"/>
            <a:r>
              <a:rPr lang="en-US" sz="2400" dirty="0"/>
              <a:t>Projected Meter Failures</a:t>
            </a:r>
            <a:endParaRPr lang="en-US" sz="2400" dirty="0">
              <a:solidFill>
                <a:srgbClr val="0099CC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25C7B14-863B-4194-89CA-26EDC0251201}"/>
              </a:ext>
            </a:extLst>
          </p:cNvPr>
          <p:cNvSpPr txBox="1"/>
          <p:nvPr/>
        </p:nvSpPr>
        <p:spPr>
          <a:xfrm>
            <a:off x="4188203" y="3068798"/>
            <a:ext cx="685800" cy="685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 defTabSz="685800">
              <a:lnSpc>
                <a:spcPct val="110000"/>
              </a:lnSpc>
              <a:spcBef>
                <a:spcPts val="900"/>
              </a:spcBef>
              <a:buSzPct val="100000"/>
              <a:buFont typeface="Arial"/>
              <a:buChar char="•"/>
              <a:defRPr/>
            </a:pPr>
            <a:endParaRPr lang="en-US" sz="1200">
              <a:solidFill>
                <a:srgbClr val="170D67"/>
              </a:solidFill>
              <a:latin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F01DA69-CC0F-42DB-AEFE-D15F00C63B44}"/>
              </a:ext>
            </a:extLst>
          </p:cNvPr>
          <p:cNvSpPr txBox="1"/>
          <p:nvPr/>
        </p:nvSpPr>
        <p:spPr>
          <a:xfrm>
            <a:off x="4188203" y="3068798"/>
            <a:ext cx="685800" cy="685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 defTabSz="685800">
              <a:lnSpc>
                <a:spcPct val="110000"/>
              </a:lnSpc>
              <a:spcBef>
                <a:spcPts val="900"/>
              </a:spcBef>
              <a:buSzPct val="100000"/>
              <a:buFont typeface="Arial"/>
              <a:buChar char="•"/>
              <a:defRPr/>
            </a:pPr>
            <a:endParaRPr lang="en-US" sz="1200">
              <a:solidFill>
                <a:srgbClr val="170D67"/>
              </a:solidFill>
              <a:latin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3ED2F3E-1829-4ECE-8447-6BD65002ADD7}"/>
              </a:ext>
            </a:extLst>
          </p:cNvPr>
          <p:cNvSpPr txBox="1"/>
          <p:nvPr/>
        </p:nvSpPr>
        <p:spPr>
          <a:xfrm>
            <a:off x="4188203" y="2974421"/>
            <a:ext cx="685800" cy="685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indent="-171450" defTabSz="685800">
              <a:lnSpc>
                <a:spcPct val="110000"/>
              </a:lnSpc>
              <a:spcBef>
                <a:spcPts val="900"/>
              </a:spcBef>
              <a:buSzPct val="100000"/>
              <a:buFont typeface="Arial"/>
              <a:buChar char="•"/>
              <a:defRPr/>
            </a:pPr>
            <a:endParaRPr lang="en-US" sz="1200">
              <a:solidFill>
                <a:srgbClr val="170D67"/>
              </a:solidFill>
              <a:latin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15FF5F2-0EF7-C9D9-543A-B6A3ED93151E}"/>
              </a:ext>
            </a:extLst>
          </p:cNvPr>
          <p:cNvSpPr/>
          <p:nvPr/>
        </p:nvSpPr>
        <p:spPr>
          <a:xfrm>
            <a:off x="1359278" y="4472584"/>
            <a:ext cx="6299003" cy="1415363"/>
          </a:xfrm>
          <a:prstGeom prst="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214313" indent="-214313" defTabSz="685800">
              <a:buFont typeface="Courier New" panose="02070309020205020404" pitchFamily="49" charset="0"/>
              <a:buChar char="o"/>
              <a:defRPr/>
            </a:pPr>
            <a:r>
              <a:rPr lang="en-US" sz="900">
                <a:solidFill>
                  <a:srgbClr val="FFFFFF"/>
                </a:solidFill>
                <a:latin typeface="Arial"/>
                <a:ea typeface="Times New Roman" panose="02020603050405020304" pitchFamily="18" charset="0"/>
              </a:rPr>
              <a:t>Analysis of failure rates over the past 3 years confirms current failure rate curve projections</a:t>
            </a:r>
          </a:p>
          <a:p>
            <a:pPr marL="214313" indent="-214313" defTabSz="685800">
              <a:buFont typeface="Courier New" panose="02070309020205020404" pitchFamily="49" charset="0"/>
              <a:buChar char="o"/>
              <a:defRPr/>
            </a:pPr>
            <a:endParaRPr lang="en-US" sz="900">
              <a:solidFill>
                <a:srgbClr val="FFFFFF"/>
              </a:solidFill>
              <a:latin typeface="Arial"/>
              <a:ea typeface="Times New Roman" panose="02020603050405020304" pitchFamily="18" charset="0"/>
            </a:endParaRPr>
          </a:p>
          <a:p>
            <a:pPr marL="214313" indent="-214313" defTabSz="685800">
              <a:buFont typeface="Courier New" panose="02070309020205020404" pitchFamily="49" charset="0"/>
              <a:buChar char="o"/>
              <a:defRPr/>
            </a:pPr>
            <a:r>
              <a:rPr lang="en-US" sz="900">
                <a:solidFill>
                  <a:srgbClr val="FFFFFF"/>
                </a:solidFill>
                <a:latin typeface="Arial"/>
                <a:ea typeface="Times New Roman" panose="02020603050405020304" pitchFamily="18" charset="0"/>
              </a:rPr>
              <a:t>Recommend beginning replacement in earnest by 2027 to stay ahead of the expected failure rates</a:t>
            </a:r>
            <a:endParaRPr lang="en-US" sz="900">
              <a:solidFill>
                <a:srgbClr val="FFFFFF"/>
              </a:solidFill>
              <a:latin typeface="Arial"/>
              <a:ea typeface="Times New Roman" panose="02020603050405020304" pitchFamily="18" charset="0"/>
              <a:cs typeface="Arial"/>
            </a:endParaRPr>
          </a:p>
          <a:p>
            <a:pPr defTabSz="685800">
              <a:defRPr/>
            </a:pPr>
            <a:endParaRPr lang="en-US" sz="900">
              <a:solidFill>
                <a:srgbClr val="FFFFFF"/>
              </a:solidFill>
              <a:latin typeface="Arial"/>
              <a:ea typeface="Calibri" panose="020F0502020204030204" pitchFamily="34" charset="0"/>
            </a:endParaRPr>
          </a:p>
          <a:p>
            <a:pPr marL="214313" indent="-214313" defTabSz="685800">
              <a:buFont typeface="Courier New" panose="02070309020205020404" pitchFamily="49" charset="0"/>
              <a:buChar char="o"/>
              <a:defRPr/>
            </a:pPr>
            <a:r>
              <a:rPr lang="en-US" sz="900">
                <a:solidFill>
                  <a:srgbClr val="FFFFFF"/>
                </a:solidFill>
                <a:latin typeface="Arial"/>
                <a:ea typeface="Times New Roman" panose="02020603050405020304" pitchFamily="18" charset="0"/>
              </a:rPr>
              <a:t>Meter failure rates will quickly increase by 2029, exceeding meter shop capacity to adequately respond without significant additional support</a:t>
            </a:r>
            <a:endParaRPr lang="en-US" sz="900">
              <a:solidFill>
                <a:srgbClr val="FFFFFF"/>
              </a:solidFill>
              <a:latin typeface="Arial"/>
              <a:ea typeface="Times New Roman" panose="02020603050405020304" pitchFamily="18" charset="0"/>
              <a:cs typeface="Arial"/>
            </a:endParaRPr>
          </a:p>
          <a:p>
            <a:pPr marL="557213" lvl="1" indent="-214313" defTabSz="685800">
              <a:buFont typeface="Courier New" panose="02070309020205020404" pitchFamily="49" charset="0"/>
              <a:buChar char="o"/>
              <a:defRPr/>
            </a:pPr>
            <a:r>
              <a:rPr lang="en-US" sz="900">
                <a:solidFill>
                  <a:srgbClr val="FFFFFF"/>
                </a:solidFill>
                <a:latin typeface="Arial"/>
                <a:ea typeface="Times New Roman" panose="02020603050405020304" pitchFamily="18" charset="0"/>
                <a:cs typeface="Arial"/>
              </a:rPr>
              <a:t>~50% deployment needed by 2031 to stay ahead of failure curve</a:t>
            </a:r>
            <a:endParaRPr lang="en-US" sz="1350">
              <a:solidFill>
                <a:srgbClr val="FFFFFF"/>
              </a:solidFill>
              <a:latin typeface="Arial"/>
              <a:cs typeface="Arial"/>
            </a:endParaRPr>
          </a:p>
          <a:p>
            <a:pPr marL="214313" indent="-214313" defTabSz="685800">
              <a:buFont typeface="Courier New" panose="02070309020205020404" pitchFamily="49" charset="0"/>
              <a:buChar char="o"/>
              <a:defRPr/>
            </a:pPr>
            <a:endParaRPr lang="en-US" sz="900">
              <a:solidFill>
                <a:srgbClr val="FFFFFF"/>
              </a:solidFill>
              <a:latin typeface="Arial"/>
              <a:ea typeface="Times New Roman" panose="02020603050405020304" pitchFamily="18" charset="0"/>
              <a:cs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87AFF6-2F71-CD54-A76C-9F5B3DF2C8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57362" y="1234679"/>
            <a:ext cx="5786438" cy="31492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2060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CEDB77-EAAD-186A-C268-31B548C8A5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64" y="383452"/>
            <a:ext cx="8229330" cy="387798"/>
          </a:xfrm>
        </p:spPr>
        <p:txBody>
          <a:bodyPr/>
          <a:lstStyle/>
          <a:p>
            <a:r>
              <a:rPr lang="en-US" sz="2800" dirty="0"/>
              <a:t>Impacts from the Pandemic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0F10173-4C99-5F19-1A91-D6B0F60D1E05}"/>
              </a:ext>
            </a:extLst>
          </p:cNvPr>
          <p:cNvSpPr>
            <a:spLocks noGrp="1"/>
          </p:cNvSpPr>
          <p:nvPr>
            <p:ph type="subTitle"/>
          </p:nvPr>
        </p:nvSpPr>
        <p:spPr>
          <a:xfrm>
            <a:off x="692384" y="1586567"/>
            <a:ext cx="7932510" cy="1915909"/>
          </a:xfrm>
        </p:spPr>
        <p:txBody>
          <a:bodyPr/>
          <a:lstStyle/>
          <a:p>
            <a:pPr>
              <a:spcAft>
                <a:spcPts val="900"/>
              </a:spcAft>
            </a:pPr>
            <a:r>
              <a:rPr lang="en-US" sz="2100" dirty="0"/>
              <a:t>How did COVID change AMI?</a:t>
            </a:r>
          </a:p>
          <a:p>
            <a:pPr marL="342900" indent="-34290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2100" dirty="0"/>
              <a:t>Material Supply Constraints</a:t>
            </a:r>
          </a:p>
          <a:p>
            <a:pPr marL="342900" indent="-34290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2100" dirty="0"/>
              <a:t>Premature Material Obsolescence </a:t>
            </a:r>
          </a:p>
          <a:p>
            <a:pPr marL="342900" indent="-34290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2100" dirty="0"/>
              <a:t>Technology Evolution</a:t>
            </a:r>
          </a:p>
          <a:p>
            <a:pPr marL="342900" indent="-342900"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sz="2100" dirty="0"/>
              <a:t>New Customer Expectations</a:t>
            </a:r>
          </a:p>
        </p:txBody>
      </p:sp>
    </p:spTree>
    <p:extLst>
      <p:ext uri="{BB962C8B-B14F-4D97-AF65-F5344CB8AC3E}">
        <p14:creationId xmlns:p14="http://schemas.microsoft.com/office/powerpoint/2010/main" val="1768239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SCO Template">
  <a:themeElements>
    <a:clrScheme name="TESCO">
      <a:dk1>
        <a:srgbClr val="000000"/>
      </a:dk1>
      <a:lt1>
        <a:srgbClr val="D8D8D8"/>
      </a:lt1>
      <a:dk2>
        <a:srgbClr val="4C5055"/>
      </a:dk2>
      <a:lt2>
        <a:srgbClr val="FFFFFF"/>
      </a:lt2>
      <a:accent1>
        <a:srgbClr val="E10027"/>
      </a:accent1>
      <a:accent2>
        <a:srgbClr val="000000"/>
      </a:accent2>
      <a:accent3>
        <a:srgbClr val="A5A5A5"/>
      </a:accent3>
      <a:accent4>
        <a:srgbClr val="FF3758"/>
      </a:accent4>
      <a:accent5>
        <a:srgbClr val="8A0017"/>
      </a:accent5>
      <a:accent6>
        <a:srgbClr val="FFB3C0"/>
      </a:accent6>
      <a:hlink>
        <a:srgbClr val="3F3F3F"/>
      </a:hlink>
      <a:folHlink>
        <a:srgbClr val="D8D8D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PECO Exelon">
  <a:themeElements>
    <a:clrScheme name="Exelon Colors">
      <a:dk1>
        <a:srgbClr val="170D67"/>
      </a:dk1>
      <a:lt1>
        <a:srgbClr val="FFFFFF"/>
      </a:lt1>
      <a:dk2>
        <a:srgbClr val="8B86B3"/>
      </a:dk2>
      <a:lt2>
        <a:srgbClr val="DBDBE9"/>
      </a:lt2>
      <a:accent1>
        <a:srgbClr val="170D67"/>
      </a:accent1>
      <a:accent2>
        <a:srgbClr val="6E06C1"/>
      </a:accent2>
      <a:accent3>
        <a:srgbClr val="3A5CFF"/>
      </a:accent3>
      <a:accent4>
        <a:srgbClr val="00E4A5"/>
      </a:accent4>
      <a:accent5>
        <a:srgbClr val="FF8300"/>
      </a:accent5>
      <a:accent6>
        <a:srgbClr val="FFD700"/>
      </a:accent6>
      <a:hlink>
        <a:srgbClr val="6E06C1"/>
      </a:hlink>
      <a:folHlink>
        <a:srgbClr val="6E06C1"/>
      </a:folHlink>
    </a:clrScheme>
    <a:fontScheme name="Exelon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xelon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  <a:miter lim="800000"/>
        </a:ln>
        <a:ln w="12700" cap="sq" cmpd="sng" algn="ctr">
          <a:solidFill>
            <a:schemeClr val="phClr"/>
          </a:solidFill>
          <a:prstDash val="solid"/>
          <a:miter lim="800000"/>
        </a:ln>
        <a:ln w="12700" cap="sq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 w="12700" cap="sq">
          <a:miter lim="800000"/>
        </a:ln>
      </a:spPr>
      <a:bodyPr lIns="137160" rIns="137160"/>
      <a:lstStyle>
        <a:defPPr algn="l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rgbClr val="000000"/>
        </a:effectRef>
        <a:fontRef idx="minor">
          <a:schemeClr val="bg1"/>
        </a:fontRef>
      </a:style>
    </a:spDef>
    <a:lnDef>
      <a:spPr>
        <a:ln w="12700" cap="sq"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rgbClr val="000000"/>
        </a:effectRef>
        <a:fontRef idx="minor">
          <a:schemeClr val="bg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28600" indent="-228600">
          <a:lnSpc>
            <a:spcPct val="110000"/>
          </a:lnSpc>
          <a:spcBef>
            <a:spcPts val="1200"/>
          </a:spcBef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Blue">
      <a:srgbClr val="170D67"/>
    </a:custClr>
    <a:custClr name="Purple">
      <a:srgbClr val="6E06C1"/>
    </a:custClr>
    <a:custClr name="Medium Blue">
      <a:srgbClr val="3A5CFF"/>
    </a:custClr>
    <a:custClr name="Green">
      <a:srgbClr val="00E4A5"/>
    </a:custClr>
    <a:custClr name="Orange">
      <a:srgbClr val="FF8300"/>
    </a:custClr>
    <a:custClr name="Yellow">
      <a:srgbClr val="FFD700"/>
    </a:custClr>
    <a:custClr name="Background Gray">
      <a:srgbClr val="DBDBE9"/>
    </a:custClr>
    <a:custClr name="50% Dark Blue">
      <a:srgbClr val="8B86B3"/>
    </a:custClr>
  </a:custClrLst>
  <a:extLst>
    <a:ext uri="{05A4C25C-085E-4340-85A3-A5531E510DB2}">
      <thm15:themeFamily xmlns:thm15="http://schemas.microsoft.com/office/thememl/2012/main" name="Presentation13" id="{14D14929-D840-7444-BF30-94D97D373C48}" vid="{69012FE7-9F28-0143-9502-8876F0308CDA}"/>
    </a:ext>
  </a:extLst>
</a:theme>
</file>

<file path=ppt/theme/theme3.xml><?xml version="1.0" encoding="utf-8"?>
<a:theme xmlns:a="http://schemas.openxmlformats.org/drawingml/2006/main" name="PECO Exelon">
  <a:themeElements>
    <a:clrScheme name="Exelon Colors">
      <a:dk1>
        <a:srgbClr val="170D67"/>
      </a:dk1>
      <a:lt1>
        <a:srgbClr val="FFFFFF"/>
      </a:lt1>
      <a:dk2>
        <a:srgbClr val="8B86B3"/>
      </a:dk2>
      <a:lt2>
        <a:srgbClr val="DBDBE9"/>
      </a:lt2>
      <a:accent1>
        <a:srgbClr val="170D67"/>
      </a:accent1>
      <a:accent2>
        <a:srgbClr val="6E06C1"/>
      </a:accent2>
      <a:accent3>
        <a:srgbClr val="3A5CFF"/>
      </a:accent3>
      <a:accent4>
        <a:srgbClr val="00E4A5"/>
      </a:accent4>
      <a:accent5>
        <a:srgbClr val="FF8300"/>
      </a:accent5>
      <a:accent6>
        <a:srgbClr val="FFD700"/>
      </a:accent6>
      <a:hlink>
        <a:srgbClr val="6E06C1"/>
      </a:hlink>
      <a:folHlink>
        <a:srgbClr val="6E06C1"/>
      </a:folHlink>
    </a:clrScheme>
    <a:fontScheme name="Exelon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xelon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  <a:miter lim="800000"/>
        </a:ln>
        <a:ln w="12700" cap="sq" cmpd="sng" algn="ctr">
          <a:solidFill>
            <a:schemeClr val="phClr"/>
          </a:solidFill>
          <a:prstDash val="solid"/>
          <a:miter lim="800000"/>
        </a:ln>
        <a:ln w="12700" cap="sq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 w="12700" cap="sq">
          <a:miter lim="800000"/>
        </a:ln>
      </a:spPr>
      <a:bodyPr lIns="137160" rIns="137160"/>
      <a:lstStyle>
        <a:defPPr algn="l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rgbClr val="000000"/>
        </a:effectRef>
        <a:fontRef idx="minor">
          <a:schemeClr val="bg1"/>
        </a:fontRef>
      </a:style>
    </a:spDef>
    <a:lnDef>
      <a:spPr>
        <a:ln w="12700" cap="sq"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rgbClr val="000000"/>
        </a:effectRef>
        <a:fontRef idx="minor">
          <a:schemeClr val="bg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28600" indent="-228600">
          <a:lnSpc>
            <a:spcPct val="110000"/>
          </a:lnSpc>
          <a:spcBef>
            <a:spcPts val="1200"/>
          </a:spcBef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Blue">
      <a:srgbClr val="170D67"/>
    </a:custClr>
    <a:custClr name="Purple">
      <a:srgbClr val="6E06C1"/>
    </a:custClr>
    <a:custClr name="Medium Blue">
      <a:srgbClr val="3A5CFF"/>
    </a:custClr>
    <a:custClr name="Green">
      <a:srgbClr val="00E4A5"/>
    </a:custClr>
    <a:custClr name="Orange">
      <a:srgbClr val="FF8300"/>
    </a:custClr>
    <a:custClr name="Yellow">
      <a:srgbClr val="FFD700"/>
    </a:custClr>
    <a:custClr name="Background Gray">
      <a:srgbClr val="DBDBE9"/>
    </a:custClr>
    <a:custClr name="50% Dark Blue">
      <a:srgbClr val="8B86B3"/>
    </a:custClr>
  </a:custClrLst>
  <a:extLst>
    <a:ext uri="{05A4C25C-085E-4340-85A3-A5531E510DB2}">
      <thm15:themeFamily xmlns:thm15="http://schemas.microsoft.com/office/thememl/2012/main" name="Presentation13" id="{14D14929-D840-7444-BF30-94D97D373C48}" vid="{69012FE7-9F28-0143-9502-8876F0308CDA}"/>
    </a:ext>
  </a:extLst>
</a:theme>
</file>

<file path=ppt/theme/theme4.xml><?xml version="1.0" encoding="utf-8"?>
<a:theme xmlns:a="http://schemas.openxmlformats.org/drawingml/2006/main" name="2_PECO Exelon">
  <a:themeElements>
    <a:clrScheme name="Exelon Colors">
      <a:dk1>
        <a:srgbClr val="170D67"/>
      </a:dk1>
      <a:lt1>
        <a:srgbClr val="FFFFFF"/>
      </a:lt1>
      <a:dk2>
        <a:srgbClr val="8B86B3"/>
      </a:dk2>
      <a:lt2>
        <a:srgbClr val="DBDBE9"/>
      </a:lt2>
      <a:accent1>
        <a:srgbClr val="170D67"/>
      </a:accent1>
      <a:accent2>
        <a:srgbClr val="6E06C1"/>
      </a:accent2>
      <a:accent3>
        <a:srgbClr val="3A5CFF"/>
      </a:accent3>
      <a:accent4>
        <a:srgbClr val="00E4A5"/>
      </a:accent4>
      <a:accent5>
        <a:srgbClr val="FF8300"/>
      </a:accent5>
      <a:accent6>
        <a:srgbClr val="FFD700"/>
      </a:accent6>
      <a:hlink>
        <a:srgbClr val="6E06C1"/>
      </a:hlink>
      <a:folHlink>
        <a:srgbClr val="6E06C1"/>
      </a:folHlink>
    </a:clrScheme>
    <a:fontScheme name="Exelon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xelon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  <a:miter lim="800000"/>
        </a:ln>
        <a:ln w="12700" cap="sq" cmpd="sng" algn="ctr">
          <a:solidFill>
            <a:schemeClr val="phClr"/>
          </a:solidFill>
          <a:prstDash val="solid"/>
          <a:miter lim="800000"/>
        </a:ln>
        <a:ln w="12700" cap="sq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 w="12700" cap="sq">
          <a:miter lim="800000"/>
        </a:ln>
      </a:spPr>
      <a:bodyPr lIns="137160" rIns="137160"/>
      <a:lstStyle>
        <a:defPPr algn="l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rgbClr val="000000"/>
        </a:effectRef>
        <a:fontRef idx="minor">
          <a:schemeClr val="bg1"/>
        </a:fontRef>
      </a:style>
    </a:spDef>
    <a:lnDef>
      <a:spPr>
        <a:ln w="12700" cap="sq"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rgbClr val="000000"/>
        </a:effectRef>
        <a:fontRef idx="minor">
          <a:schemeClr val="bg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28600" indent="-228600">
          <a:lnSpc>
            <a:spcPct val="110000"/>
          </a:lnSpc>
          <a:spcBef>
            <a:spcPts val="1200"/>
          </a:spcBef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Blue">
      <a:srgbClr val="170D67"/>
    </a:custClr>
    <a:custClr name="Purple">
      <a:srgbClr val="6E06C1"/>
    </a:custClr>
    <a:custClr name="Medium Blue">
      <a:srgbClr val="3A5CFF"/>
    </a:custClr>
    <a:custClr name="Green">
      <a:srgbClr val="00E4A5"/>
    </a:custClr>
    <a:custClr name="Orange">
      <a:srgbClr val="FF8300"/>
    </a:custClr>
    <a:custClr name="Yellow">
      <a:srgbClr val="FFD700"/>
    </a:custClr>
    <a:custClr name="Background Gray">
      <a:srgbClr val="DBDBE9"/>
    </a:custClr>
    <a:custClr name="50% Dark Blue">
      <a:srgbClr val="8B86B3"/>
    </a:custClr>
  </a:custClrLst>
  <a:extLst>
    <a:ext uri="{05A4C25C-085E-4340-85A3-A5531E510DB2}">
      <thm15:themeFamily xmlns:thm15="http://schemas.microsoft.com/office/thememl/2012/main" name="Presentation13" id="{14D14929-D840-7444-BF30-94D97D373C48}" vid="{69012FE7-9F28-0143-9502-8876F0308CDA}"/>
    </a:ext>
  </a:extLst>
</a:theme>
</file>

<file path=ppt/theme/theme5.xml><?xml version="1.0" encoding="utf-8"?>
<a:theme xmlns:a="http://schemas.openxmlformats.org/drawingml/2006/main" name="3_PECO Exelon">
  <a:themeElements>
    <a:clrScheme name="Exelon Colors">
      <a:dk1>
        <a:srgbClr val="170D67"/>
      </a:dk1>
      <a:lt1>
        <a:srgbClr val="FFFFFF"/>
      </a:lt1>
      <a:dk2>
        <a:srgbClr val="8B86B3"/>
      </a:dk2>
      <a:lt2>
        <a:srgbClr val="DBDBE9"/>
      </a:lt2>
      <a:accent1>
        <a:srgbClr val="170D67"/>
      </a:accent1>
      <a:accent2>
        <a:srgbClr val="6E06C1"/>
      </a:accent2>
      <a:accent3>
        <a:srgbClr val="3A5CFF"/>
      </a:accent3>
      <a:accent4>
        <a:srgbClr val="00E4A5"/>
      </a:accent4>
      <a:accent5>
        <a:srgbClr val="FF8300"/>
      </a:accent5>
      <a:accent6>
        <a:srgbClr val="FFD700"/>
      </a:accent6>
      <a:hlink>
        <a:srgbClr val="6E06C1"/>
      </a:hlink>
      <a:folHlink>
        <a:srgbClr val="6E06C1"/>
      </a:folHlink>
    </a:clrScheme>
    <a:fontScheme name="Exelon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xelon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  <a:miter lim="800000"/>
        </a:ln>
        <a:ln w="12700" cap="sq" cmpd="sng" algn="ctr">
          <a:solidFill>
            <a:schemeClr val="phClr"/>
          </a:solidFill>
          <a:prstDash val="solid"/>
          <a:miter lim="800000"/>
        </a:ln>
        <a:ln w="12700" cap="sq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 w="12700" cap="sq">
          <a:miter lim="800000"/>
        </a:ln>
      </a:spPr>
      <a:bodyPr lIns="137160" rIns="137160"/>
      <a:lstStyle>
        <a:defPPr algn="l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rgbClr val="000000"/>
        </a:effectRef>
        <a:fontRef idx="minor">
          <a:schemeClr val="bg1"/>
        </a:fontRef>
      </a:style>
    </a:spDef>
    <a:lnDef>
      <a:spPr>
        <a:ln w="12700" cap="sq"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rgbClr val="000000"/>
        </a:effectRef>
        <a:fontRef idx="minor">
          <a:schemeClr val="bg1"/>
        </a:fontRef>
      </a:style>
    </a:lnDef>
    <a:txDef>
      <a:spPr>
        <a:noFill/>
      </a:spPr>
      <a:bodyPr wrap="square" lIns="0" tIns="0" rIns="0" bIns="0" rtlCol="0">
        <a:noAutofit/>
      </a:bodyPr>
      <a:lstStyle>
        <a:defPPr marL="228600" indent="-228600">
          <a:lnSpc>
            <a:spcPct val="110000"/>
          </a:lnSpc>
          <a:spcBef>
            <a:spcPts val="1200"/>
          </a:spcBef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Blue">
      <a:srgbClr val="170D67"/>
    </a:custClr>
    <a:custClr name="Purple">
      <a:srgbClr val="6E06C1"/>
    </a:custClr>
    <a:custClr name="Medium Blue">
      <a:srgbClr val="3A5CFF"/>
    </a:custClr>
    <a:custClr name="Green">
      <a:srgbClr val="00E4A5"/>
    </a:custClr>
    <a:custClr name="Orange">
      <a:srgbClr val="FF8300"/>
    </a:custClr>
    <a:custClr name="Yellow">
      <a:srgbClr val="FFD700"/>
    </a:custClr>
    <a:custClr name="Background Gray">
      <a:srgbClr val="DBDBE9"/>
    </a:custClr>
    <a:custClr name="50% Dark Blue">
      <a:srgbClr val="8B86B3"/>
    </a:custClr>
  </a:custClrLst>
  <a:extLst>
    <a:ext uri="{05A4C25C-085E-4340-85A3-A5531E510DB2}">
      <thm15:themeFamily xmlns:thm15="http://schemas.microsoft.com/office/thememl/2012/main" name="Presentation13" id="{14D14929-D840-7444-BF30-94D97D373C48}" vid="{69012FE7-9F28-0143-9502-8876F0308CD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18727</TotalTime>
  <Words>1537</Words>
  <Application>Microsoft Office PowerPoint</Application>
  <PresentationFormat>On-screen Show (4:3)</PresentationFormat>
  <Paragraphs>256</Paragraphs>
  <Slides>34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5" baseType="lpstr">
      <vt:lpstr>Arial</vt:lpstr>
      <vt:lpstr>Calibri</vt:lpstr>
      <vt:lpstr>Courier New</vt:lpstr>
      <vt:lpstr>Open Sans</vt:lpstr>
      <vt:lpstr>Wingdings</vt:lpstr>
      <vt:lpstr>TESCO Template</vt:lpstr>
      <vt:lpstr>1_PECO Exelon</vt:lpstr>
      <vt:lpstr>PECO Exelon</vt:lpstr>
      <vt:lpstr>2_PECO Exelon</vt:lpstr>
      <vt:lpstr>3_PECO Exelon</vt:lpstr>
      <vt:lpstr>think-cell Slide</vt:lpstr>
      <vt:lpstr>ROUNDTABLE: - Tracking Failure Curves of Early AMI Deployments  - Considerations for AMI 2.0 - System Obsolescence Considerations</vt:lpstr>
      <vt:lpstr>Ice Breaker</vt:lpstr>
      <vt:lpstr>PECO’s AMI Deployment</vt:lpstr>
      <vt:lpstr>AMI at PECO </vt:lpstr>
      <vt:lpstr>AMI Background</vt:lpstr>
      <vt:lpstr>Meter Obsolescense</vt:lpstr>
      <vt:lpstr>Meter Lifecycle</vt:lpstr>
      <vt:lpstr>Projected Meter Failures</vt:lpstr>
      <vt:lpstr>Impacts from the Pandemic</vt:lpstr>
      <vt:lpstr>AMI 2.0?</vt:lpstr>
      <vt:lpstr>AMI 2.0</vt:lpstr>
      <vt:lpstr>AMI 2.0</vt:lpstr>
      <vt:lpstr>More Data &amp; New Functions</vt:lpstr>
      <vt:lpstr>New Functions</vt:lpstr>
      <vt:lpstr>AMI 2.0 Use Cases</vt:lpstr>
      <vt:lpstr>PowerPoint Presentation</vt:lpstr>
      <vt:lpstr>Distributed Intelligence</vt:lpstr>
      <vt:lpstr>Distributed Intelligence</vt:lpstr>
      <vt:lpstr>Alternative Perspectives</vt:lpstr>
      <vt:lpstr>Sensus FlexNet V2 – “Crowded Highways Presentation”*</vt:lpstr>
      <vt:lpstr>Sensus V2 Protocol</vt:lpstr>
      <vt:lpstr>What is a NextGen Meter?</vt:lpstr>
      <vt:lpstr>Next Gen AMI</vt:lpstr>
      <vt:lpstr>PowerPoint Presentation</vt:lpstr>
      <vt:lpstr>PowerPoint Presentation</vt:lpstr>
      <vt:lpstr>PowerPoint Presentation</vt:lpstr>
      <vt:lpstr>Conclusion</vt:lpstr>
      <vt:lpstr>Appendix</vt:lpstr>
      <vt:lpstr>PECO’s SGSM Team</vt:lpstr>
      <vt:lpstr>PECO F&amp;MS and SGS</vt:lpstr>
      <vt:lpstr>PECO F&amp;MS and SGS – SG Ops</vt:lpstr>
      <vt:lpstr>PECO F&amp;MS and SGS –  SG COE (Engineering) </vt:lpstr>
      <vt:lpstr>PECO F&amp;MS and SGS – Meter Maint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didiah Tamayo</dc:creator>
  <cp:lastModifiedBy>Ujjay Brawley</cp:lastModifiedBy>
  <cp:revision>18</cp:revision>
  <dcterms:created xsi:type="dcterms:W3CDTF">2021-12-30T15:47:27Z</dcterms:created>
  <dcterms:modified xsi:type="dcterms:W3CDTF">2024-07-26T17:59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c968b3d1-e05f-4796-9c23-acaf26d588cb_Enabled">
    <vt:lpwstr>true</vt:lpwstr>
  </property>
  <property fmtid="{D5CDD505-2E9C-101B-9397-08002B2CF9AE}" pid="3" name="MSIP_Label_c968b3d1-e05f-4796-9c23-acaf26d588cb_SetDate">
    <vt:lpwstr>2024-06-25T14:44:14Z</vt:lpwstr>
  </property>
  <property fmtid="{D5CDD505-2E9C-101B-9397-08002B2CF9AE}" pid="4" name="MSIP_Label_c968b3d1-e05f-4796-9c23-acaf26d588cb_Method">
    <vt:lpwstr>Standard</vt:lpwstr>
  </property>
  <property fmtid="{D5CDD505-2E9C-101B-9397-08002B2CF9AE}" pid="5" name="MSIP_Label_c968b3d1-e05f-4796-9c23-acaf26d588cb_Name">
    <vt:lpwstr>Company Confidential Information</vt:lpwstr>
  </property>
  <property fmtid="{D5CDD505-2E9C-101B-9397-08002B2CF9AE}" pid="6" name="MSIP_Label_c968b3d1-e05f-4796-9c23-acaf26d588cb_SiteId">
    <vt:lpwstr>600d01fc-055f-49c6-868f-3ecfcc791773</vt:lpwstr>
  </property>
  <property fmtid="{D5CDD505-2E9C-101B-9397-08002B2CF9AE}" pid="7" name="MSIP_Label_c968b3d1-e05f-4796-9c23-acaf26d588cb_ActionId">
    <vt:lpwstr>1be44cef-c730-4471-8bca-28c9d19a9709</vt:lpwstr>
  </property>
  <property fmtid="{D5CDD505-2E9C-101B-9397-08002B2CF9AE}" pid="8" name="MSIP_Label_c968b3d1-e05f-4796-9c23-acaf26d588cb_ContentBits">
    <vt:lpwstr>0</vt:lpwstr>
  </property>
</Properties>
</file>